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1.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0" r:id="rId5"/>
    <p:sldMasterId id="2147483754" r:id="rId6"/>
    <p:sldMasterId id="2147483758" r:id="rId7"/>
    <p:sldMasterId id="2147483776" r:id="rId8"/>
    <p:sldMasterId id="2147483797" r:id="rId9"/>
  </p:sldMasterIdLst>
  <p:notesMasterIdLst>
    <p:notesMasterId r:id="rId40"/>
  </p:notesMasterIdLst>
  <p:sldIdLst>
    <p:sldId id="2147483586" r:id="rId10"/>
    <p:sldId id="2147483125" r:id="rId11"/>
    <p:sldId id="2147483598" r:id="rId12"/>
    <p:sldId id="2147483604" r:id="rId13"/>
    <p:sldId id="2147483602" r:id="rId14"/>
    <p:sldId id="2147483605" r:id="rId15"/>
    <p:sldId id="2147483606" r:id="rId16"/>
    <p:sldId id="2147483608" r:id="rId17"/>
    <p:sldId id="2147483133" r:id="rId18"/>
    <p:sldId id="2147483618" r:id="rId19"/>
    <p:sldId id="2147483126" r:id="rId20"/>
    <p:sldId id="2147483616" r:id="rId21"/>
    <p:sldId id="2147483143" r:id="rId22"/>
    <p:sldId id="2147472477" r:id="rId23"/>
    <p:sldId id="2147483612" r:id="rId24"/>
    <p:sldId id="2147479985" r:id="rId25"/>
    <p:sldId id="2147483617" r:id="rId26"/>
    <p:sldId id="2147479989" r:id="rId27"/>
    <p:sldId id="2147483146" r:id="rId28"/>
    <p:sldId id="2147483613" r:id="rId29"/>
    <p:sldId id="2147483138" r:id="rId30"/>
    <p:sldId id="2147483621" r:id="rId31"/>
    <p:sldId id="2147483622" r:id="rId32"/>
    <p:sldId id="257" r:id="rId33"/>
    <p:sldId id="259" r:id="rId34"/>
    <p:sldId id="2147483584" r:id="rId35"/>
    <p:sldId id="2147483139" r:id="rId36"/>
    <p:sldId id="2147483620" r:id="rId37"/>
    <p:sldId id="2147483623" r:id="rId38"/>
    <p:sldId id="2147480152"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mage Examples" id="{30A5AF4B-AAB8-4D40-BE77-40F0EBCA7CC1}">
          <p14:sldIdLst>
            <p14:sldId id="2147483586"/>
            <p14:sldId id="2147483125"/>
          </p14:sldIdLst>
        </p14:section>
        <p14:section name="Presentation Body" id="{22D610F9-4B45-2348-8F01-26B812A23121}">
          <p14:sldIdLst>
            <p14:sldId id="2147483598"/>
            <p14:sldId id="2147483604"/>
            <p14:sldId id="2147483602"/>
            <p14:sldId id="2147483605"/>
            <p14:sldId id="2147483606"/>
            <p14:sldId id="2147483608"/>
            <p14:sldId id="2147483133"/>
            <p14:sldId id="2147483618"/>
            <p14:sldId id="2147483126"/>
            <p14:sldId id="2147483616"/>
            <p14:sldId id="2147483143"/>
            <p14:sldId id="2147472477"/>
            <p14:sldId id="2147483612"/>
            <p14:sldId id="2147479985"/>
            <p14:sldId id="2147483617"/>
            <p14:sldId id="2147479989"/>
            <p14:sldId id="2147483146"/>
            <p14:sldId id="2147483613"/>
            <p14:sldId id="2147483138"/>
            <p14:sldId id="2147483621"/>
            <p14:sldId id="2147483622"/>
            <p14:sldId id="257"/>
            <p14:sldId id="259"/>
            <p14:sldId id="2147483584"/>
            <p14:sldId id="2147483139"/>
            <p14:sldId id="2147483620"/>
            <p14:sldId id="2147483623"/>
            <p14:sldId id="214748015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332F102-3B3A-E9D2-B918-7C8376D6FB21}" name="Chris Janczar" initials="KRJA" userId="Chris Janczar" providerId="None"/>
  <p188:author id="{621AB02D-D6EF-D0DC-1F19-E8144577EB4D}" name="Jollie, Maria" initials="MJ" userId="S::Maria.Jollie@esko.com::6279a8c5-f75d-44ea-b3ae-09db46f3747e" providerId="AD"/>
  <p188:author id="{6215C139-92A4-6B62-05D4-C6B625E18ACC}" name="Janczar, Chris" initials="" userId="S::Chris.Janczar@esko.com::b338e01d-970c-4c45-a03a-a5132aaf20b6" providerId="AD"/>
  <p188:author id="{A89C9384-1FE1-51FB-E778-E1802394C83F}" name="Poret, Blandine" initials="" userId="S::blandine.poret@esko.com::98fd056f-23a0-44ba-bb2a-46d45f8c1b87" providerId="AD"/>
  <p188:author id="{82C72088-1E0E-EC18-CE39-F51AC82D780B}" name="Hofsaes, Kara" initials="HK" userId="S::kara.hofsaes@esko.com::9260fc93-c91d-49e8-ac4e-2b2ddf1541a3" providerId="AD"/>
  <p188:author id="{F07066E8-FECC-ACBB-23AE-AD955BA2CC43}" name="Leslie, Jackie" initials="LJ" userId="S::jackie.leslie@esko.com::9984cdbf-89d1-4a43-9108-0c12162dd7b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D444B"/>
    <a:srgbClr val="E5ECFF"/>
    <a:srgbClr val="FFE5D6"/>
    <a:srgbClr val="F0F1F3"/>
    <a:srgbClr val="F0F1E3"/>
    <a:srgbClr val="FAEAF8"/>
    <a:srgbClr val="FFD5E6"/>
    <a:srgbClr val="FAEFA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58630"/>
  </p:normalViewPr>
  <p:slideViewPr>
    <p:cSldViewPr snapToGrid="0">
      <p:cViewPr varScale="1">
        <p:scale>
          <a:sx n="57" d="100"/>
          <a:sy n="57" d="100"/>
        </p:scale>
        <p:origin x="3200" y="4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notesMaster" Target="notesMasters/notesMaster1.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20" Type="http://schemas.openxmlformats.org/officeDocument/2006/relationships/slide" Target="slides/slide11.xml"/><Relationship Id="rId4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TT Commons Pro" panose="020B0103030102020204" pitchFamily="34"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TT Commons Pro" panose="020B0103030102020204" pitchFamily="34" charset="77"/>
              </a:defRPr>
            </a:lvl1pPr>
          </a:lstStyle>
          <a:p>
            <a:fld id="{16DF13B5-E7C0-7F4E-B793-E603630028AD}" type="datetimeFigureOut">
              <a:rPr lang="en-US" smtClean="0"/>
              <a:pPr/>
              <a:t>3/24/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TT Commons Pro" panose="020B0103030102020204" pitchFamily="34"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TT Commons Pro" panose="020B0103030102020204" pitchFamily="34" charset="77"/>
              </a:defRPr>
            </a:lvl1pPr>
          </a:lstStyle>
          <a:p>
            <a:fld id="{9E1DC1B0-72E9-EC45-AEEA-E9E8BD96666B}" type="slidenum">
              <a:rPr lang="en-US" smtClean="0"/>
              <a:pPr/>
              <a:t>‹#›</a:t>
            </a:fld>
            <a:endParaRPr lang="en-US"/>
          </a:p>
        </p:txBody>
      </p:sp>
    </p:spTree>
    <p:extLst>
      <p:ext uri="{BB962C8B-B14F-4D97-AF65-F5344CB8AC3E}">
        <p14:creationId xmlns:p14="http://schemas.microsoft.com/office/powerpoint/2010/main" val="4292982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TT Commons Pro" panose="020B0103030102020204" pitchFamily="34" charset="77"/>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92150-D73D-2166-A6E3-F9FBACCD0F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657856-7F2E-8CDB-E30B-7690DD01306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41CA61D-7603-CDCA-BBBA-B9E1ABA7949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4A197C2-7DAA-43D5-91C7-AA0B0740CC2A}"/>
              </a:ext>
            </a:extLst>
          </p:cNvPr>
          <p:cNvSpPr>
            <a:spLocks noGrp="1"/>
          </p:cNvSpPr>
          <p:nvPr>
            <p:ph type="sldNum" sz="quarter" idx="5"/>
          </p:nvPr>
        </p:nvSpPr>
        <p:spPr/>
        <p:txBody>
          <a:bodyPr/>
          <a:lstStyle/>
          <a:p>
            <a:fld id="{9E1DC1B0-72E9-EC45-AEEA-E9E8BD96666B}" type="slidenum">
              <a:rPr lang="en-US" smtClean="0"/>
              <a:t>1</a:t>
            </a:fld>
            <a:endParaRPr lang="en-US"/>
          </a:p>
        </p:txBody>
      </p:sp>
    </p:spTree>
    <p:extLst>
      <p:ext uri="{BB962C8B-B14F-4D97-AF65-F5344CB8AC3E}">
        <p14:creationId xmlns:p14="http://schemas.microsoft.com/office/powerpoint/2010/main" val="34329992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A0EC2-D8A2-F03B-96A6-A88FE532EF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FBEA13-4197-50A3-E937-A70914A4890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6F6A688-A905-1A5C-E73D-0AB4E711AAC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a:t>First of all, what are the challenges with artwork that make it a candidate for AI?</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a:t>There may be multiple briefing </a:t>
            </a:r>
            <a:r>
              <a:rPr lang="en-CA" err="1"/>
              <a:t>proceses</a:t>
            </a:r>
            <a:r>
              <a:rPr lang="en-CA"/>
              <a:t> depending on region or marke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a:t>It’s a manually intensive exercise for applying the changes and verifying th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a:t>And a lot of people are involved in the process</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CA"/>
          </a:p>
          <a:p>
            <a:pPr marL="0" marR="0" lvl="0" indent="0" algn="l" defTabSz="914400" rtl="0" eaLnBrk="1" fontAlgn="auto" latinLnBrk="0" hangingPunct="1">
              <a:lnSpc>
                <a:spcPct val="100000"/>
              </a:lnSpc>
              <a:spcBef>
                <a:spcPts val="0"/>
              </a:spcBef>
              <a:spcAft>
                <a:spcPts val="0"/>
              </a:spcAft>
              <a:buClrTx/>
              <a:buSzTx/>
              <a:buFontTx/>
              <a:buNone/>
              <a:tabLst/>
              <a:defRPr/>
            </a:pPr>
            <a:r>
              <a:rPr lang="en-CA"/>
              <a:t>It’s also a process that demands a very high quality output</a:t>
            </a:r>
            <a:endParaRPr lang="en-BE"/>
          </a:p>
        </p:txBody>
      </p:sp>
      <p:sp>
        <p:nvSpPr>
          <p:cNvPr id="4" name="Slide Number Placeholder 3">
            <a:extLst>
              <a:ext uri="{FF2B5EF4-FFF2-40B4-BE49-F238E27FC236}">
                <a16:creationId xmlns:a16="http://schemas.microsoft.com/office/drawing/2014/main" id="{401A5826-0866-145D-84DA-76A270526E17}"/>
              </a:ext>
            </a:extLst>
          </p:cNvPr>
          <p:cNvSpPr>
            <a:spLocks noGrp="1"/>
          </p:cNvSpPr>
          <p:nvPr>
            <p:ph type="sldNum" sz="quarter" idx="5"/>
          </p:nvPr>
        </p:nvSpPr>
        <p:spPr/>
        <p:txBody>
          <a:bodyPr/>
          <a:lstStyle/>
          <a:p>
            <a:fld id="{9E1DC1B0-72E9-EC45-AEEA-E9E8BD96666B}" type="slidenum">
              <a:rPr lang="en-US" smtClean="0"/>
              <a:pPr/>
              <a:t>10</a:t>
            </a:fld>
            <a:endParaRPr lang="en-US"/>
          </a:p>
        </p:txBody>
      </p:sp>
    </p:spTree>
    <p:extLst>
      <p:ext uri="{BB962C8B-B14F-4D97-AF65-F5344CB8AC3E}">
        <p14:creationId xmlns:p14="http://schemas.microsoft.com/office/powerpoint/2010/main" val="1437689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F191B-36F5-9296-FED1-3F75FFB923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18EC7B-EC87-01E3-F0EB-F0F18B18ABD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434C3DA-7888-F576-DB00-68FE0658CFF5}"/>
              </a:ext>
            </a:extLst>
          </p:cNvPr>
          <p:cNvSpPr>
            <a:spLocks noGrp="1"/>
          </p:cNvSpPr>
          <p:nvPr>
            <p:ph type="body" idx="1"/>
          </p:nvPr>
        </p:nvSpPr>
        <p:spPr/>
        <p:txBody>
          <a:bodyPr/>
          <a:lstStyle/>
          <a:p>
            <a:r>
              <a:rPr lang="en-US"/>
              <a:t>I’ll walk through 2 examples of where we’re seeing lots of focus. The first one is with automated quality &amp; compliance checks on artwork</a:t>
            </a:r>
          </a:p>
        </p:txBody>
      </p:sp>
      <p:sp>
        <p:nvSpPr>
          <p:cNvPr id="4" name="Slide Number Placeholder 3">
            <a:extLst>
              <a:ext uri="{FF2B5EF4-FFF2-40B4-BE49-F238E27FC236}">
                <a16:creationId xmlns:a16="http://schemas.microsoft.com/office/drawing/2014/main" id="{81465189-FF3B-21A2-E566-4A04A3A0CC1A}"/>
              </a:ext>
            </a:extLst>
          </p:cNvPr>
          <p:cNvSpPr>
            <a:spLocks noGrp="1"/>
          </p:cNvSpPr>
          <p:nvPr>
            <p:ph type="sldNum" sz="quarter" idx="5"/>
          </p:nvPr>
        </p:nvSpPr>
        <p:spPr/>
        <p:txBody>
          <a:bodyPr/>
          <a:lstStyle/>
          <a:p>
            <a:fld id="{9E1DC1B0-72E9-EC45-AEEA-E9E8BD96666B}" type="slidenum">
              <a:rPr lang="en-US" smtClean="0"/>
              <a:pPr/>
              <a:t>11</a:t>
            </a:fld>
            <a:endParaRPr lang="en-US"/>
          </a:p>
        </p:txBody>
      </p:sp>
    </p:spTree>
    <p:extLst>
      <p:ext uri="{BB962C8B-B14F-4D97-AF65-F5344CB8AC3E}">
        <p14:creationId xmlns:p14="http://schemas.microsoft.com/office/powerpoint/2010/main" val="37557141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9A7871-BED3-334E-A00B-99A8758D93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586EBB-C356-3F1B-F293-09936E8C9C8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879A40A-8EDE-375C-7A26-36DA7DA2113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First of all, what are the challenges with artwork that make it a candidate for AI use for quality &amp; compliance check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There is a lot of content and it all needs to be kept up-to-dat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Markets have different need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Version control is complicat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Errors do get through</a:t>
            </a:r>
            <a:endParaRPr lang="en-BE"/>
          </a:p>
        </p:txBody>
      </p:sp>
      <p:sp>
        <p:nvSpPr>
          <p:cNvPr id="4" name="Slide Number Placeholder 3">
            <a:extLst>
              <a:ext uri="{FF2B5EF4-FFF2-40B4-BE49-F238E27FC236}">
                <a16:creationId xmlns:a16="http://schemas.microsoft.com/office/drawing/2014/main" id="{A8F882CA-47A9-E8CA-5802-01392ADFAA6E}"/>
              </a:ext>
            </a:extLst>
          </p:cNvPr>
          <p:cNvSpPr>
            <a:spLocks noGrp="1"/>
          </p:cNvSpPr>
          <p:nvPr>
            <p:ph type="sldNum" sz="quarter" idx="5"/>
          </p:nvPr>
        </p:nvSpPr>
        <p:spPr/>
        <p:txBody>
          <a:bodyPr/>
          <a:lstStyle/>
          <a:p>
            <a:fld id="{9E1DC1B0-72E9-EC45-AEEA-E9E8BD96666B}" type="slidenum">
              <a:rPr lang="en-US" smtClean="0"/>
              <a:pPr/>
              <a:t>12</a:t>
            </a:fld>
            <a:endParaRPr lang="en-US"/>
          </a:p>
        </p:txBody>
      </p:sp>
    </p:spTree>
    <p:extLst>
      <p:ext uri="{BB962C8B-B14F-4D97-AF65-F5344CB8AC3E}">
        <p14:creationId xmlns:p14="http://schemas.microsoft.com/office/powerpoint/2010/main" val="1681456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5E4BE-909A-85ED-8831-BBFCAF8D33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1B30A7-760C-CCE1-3FA0-C075469D84D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B927459-4187-FABA-232D-4F7560BC964A}"/>
              </a:ext>
            </a:extLst>
          </p:cNvPr>
          <p:cNvSpPr>
            <a:spLocks noGrp="1"/>
          </p:cNvSpPr>
          <p:nvPr>
            <p:ph type="body" idx="1"/>
          </p:nvPr>
        </p:nvSpPr>
        <p:spPr/>
        <p:txBody>
          <a:bodyPr/>
          <a:lstStyle/>
          <a:p>
            <a:endParaRPr lang="en-US"/>
          </a:p>
          <a:p>
            <a:r>
              <a:rPr lang="en-US"/>
              <a:t>We added this capability to our product portfolio last year and uptake has been very high.</a:t>
            </a:r>
          </a:p>
          <a:p>
            <a:endParaRPr lang="en-US"/>
          </a:p>
          <a:p>
            <a:r>
              <a:rPr lang="en-US"/>
              <a:t>Improves quality and saves time</a:t>
            </a:r>
          </a:p>
          <a:p>
            <a:endParaRPr lang="en-US"/>
          </a:p>
          <a:p>
            <a:r>
              <a:rPr lang="en-US"/>
              <a:t>Traditionally the compliance check for artwork has been at the final stage with reviewers. With these types of tools, it becomes part of the execution: the designer or artist can run the checks prior to the artwork getting to review stage so errors are caught much earlier.</a:t>
            </a:r>
          </a:p>
          <a:p>
            <a:endParaRPr lang="en-US"/>
          </a:p>
        </p:txBody>
      </p:sp>
      <p:sp>
        <p:nvSpPr>
          <p:cNvPr id="4" name="Slide Number Placeholder 3">
            <a:extLst>
              <a:ext uri="{FF2B5EF4-FFF2-40B4-BE49-F238E27FC236}">
                <a16:creationId xmlns:a16="http://schemas.microsoft.com/office/drawing/2014/main" id="{3EA00FD2-44B6-0AFD-44A1-C494200CED63}"/>
              </a:ext>
            </a:extLst>
          </p:cNvPr>
          <p:cNvSpPr>
            <a:spLocks noGrp="1"/>
          </p:cNvSpPr>
          <p:nvPr>
            <p:ph type="sldNum" sz="quarter" idx="5"/>
          </p:nvPr>
        </p:nvSpPr>
        <p:spPr/>
        <p:txBody>
          <a:bodyPr/>
          <a:lstStyle/>
          <a:p>
            <a:fld id="{9E1DC1B0-72E9-EC45-AEEA-E9E8BD96666B}" type="slidenum">
              <a:rPr lang="en-US" smtClean="0"/>
              <a:pPr/>
              <a:t>13</a:t>
            </a:fld>
            <a:endParaRPr lang="en-US"/>
          </a:p>
        </p:txBody>
      </p:sp>
    </p:spTree>
    <p:extLst>
      <p:ext uri="{BB962C8B-B14F-4D97-AF65-F5344CB8AC3E}">
        <p14:creationId xmlns:p14="http://schemas.microsoft.com/office/powerpoint/2010/main" val="34993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75DB24-CB93-1C64-B39A-8EF37AC89B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D76B29-03C4-8A53-4FFB-DB89EF5BF6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CA6EE9-BA65-1F6A-5A02-DEF7C8893E07}"/>
              </a:ext>
            </a:extLst>
          </p:cNvPr>
          <p:cNvSpPr>
            <a:spLocks noGrp="1"/>
          </p:cNvSpPr>
          <p:nvPr>
            <p:ph type="body" idx="1"/>
          </p:nvPr>
        </p:nvSpPr>
        <p:spPr>
          <a:xfrm>
            <a:off x="677863" y="4773613"/>
            <a:ext cx="5426075" cy="390525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 does it work? The system performs checks on an artwork automatically. They can be rules-based, for example, check that the barcode is correct, spell checking, check that nothing is printing over a fold line, check that the copy matches the source cop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cs typeface="Times New Roman"/>
              </a:rPr>
              <a:t>Rulebooks can apply for every label, market/region, and SKU</a:t>
            </a:r>
            <a:endParaRPr lang="en-US" dirty="0"/>
          </a:p>
          <a:p>
            <a:endParaRPr lang="en-US" dirty="0"/>
          </a:p>
          <a:p>
            <a:r>
              <a:rPr lang="en-US" dirty="0"/>
              <a:t>A production artist gets notified of passes/fails when the review is done, and accepts or rejects finding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se if any questions on AI: </a:t>
            </a:r>
            <a:r>
              <a:rPr lang="en-US" sz="1200" b="1" dirty="0">
                <a:solidFill>
                  <a:schemeClr val="accent5">
                    <a:lumMod val="76000"/>
                  </a:schemeClr>
                </a:solidFill>
                <a:latin typeface="TT Commons Pro"/>
              </a:rPr>
              <a:t>Deterministic results:</a:t>
            </a:r>
            <a:r>
              <a:rPr lang="en-US" sz="1200" b="1" dirty="0">
                <a:solidFill>
                  <a:schemeClr val="tx1"/>
                </a:solidFill>
                <a:latin typeface="TT Commons Pro"/>
              </a:rPr>
              <a:t> </a:t>
            </a:r>
            <a:r>
              <a:rPr lang="en-US" sz="1200" dirty="0">
                <a:solidFill>
                  <a:schemeClr val="tx1"/>
                </a:solidFill>
                <a:latin typeface="TT Commons Pro"/>
              </a:rPr>
              <a:t>Produces consistent, repeatable outputs every time (No AI hallucination))</a:t>
            </a:r>
          </a:p>
          <a:p>
            <a:endParaRPr lang="en-US" dirty="0"/>
          </a:p>
          <a:p>
            <a:endParaRPr lang="en-US" dirty="0"/>
          </a:p>
          <a:p>
            <a:pPr marL="514350" marR="0" lvl="3" indent="-514350" defTabSz="2438400" eaLnBrk="1" fontAlgn="auto" latinLnBrk="0" hangingPunct="1">
              <a:lnSpc>
                <a:spcPct val="100000"/>
              </a:lnSpc>
              <a:spcBef>
                <a:spcPts val="1100"/>
              </a:spcBef>
              <a:spcAft>
                <a:spcPts val="0"/>
              </a:spcAft>
              <a:buClrTx/>
              <a:buSzTx/>
              <a:buFont typeface="+mj-lt"/>
              <a:buAutoNum type="arabicPeriod"/>
              <a:tabLst/>
              <a:defRPr/>
            </a:pPr>
            <a:endParaRPr lang="en-US" dirty="0"/>
          </a:p>
        </p:txBody>
      </p:sp>
      <p:sp>
        <p:nvSpPr>
          <p:cNvPr id="4" name="Slide Number Placeholder 3">
            <a:extLst>
              <a:ext uri="{FF2B5EF4-FFF2-40B4-BE49-F238E27FC236}">
                <a16:creationId xmlns:a16="http://schemas.microsoft.com/office/drawing/2014/main" id="{B78CBCD5-443F-80C0-88DC-703397501C78}"/>
              </a:ext>
            </a:extLst>
          </p:cNvPr>
          <p:cNvSpPr>
            <a:spLocks noGrp="1"/>
          </p:cNvSpPr>
          <p:nvPr>
            <p:ph type="sldNum" sz="quarter" idx="5"/>
          </p:nvPr>
        </p:nvSpPr>
        <p:spPr/>
        <p:txBody>
          <a:bodyPr/>
          <a:lstStyle/>
          <a:p>
            <a:fld id="{91134B59-34DD-8847-8696-8421AE91BF75}" type="slidenum">
              <a:rPr lang="en-GB" smtClean="0"/>
              <a:pPr/>
              <a:t>14</a:t>
            </a:fld>
            <a:endParaRPr lang="en-GB"/>
          </a:p>
        </p:txBody>
      </p:sp>
    </p:spTree>
    <p:extLst>
      <p:ext uri="{BB962C8B-B14F-4D97-AF65-F5344CB8AC3E}">
        <p14:creationId xmlns:p14="http://schemas.microsoft.com/office/powerpoint/2010/main" val="20654574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91E3C-F4B8-78FA-8FD1-11180900DD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F8E368-972E-E0E4-F5FA-32588A1556C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164D6BD-D780-E23B-7488-E0E10E6C585B}"/>
              </a:ext>
            </a:extLst>
          </p:cNvPr>
          <p:cNvSpPr>
            <a:spLocks noGrp="1"/>
          </p:cNvSpPr>
          <p:nvPr>
            <p:ph type="body" idx="1"/>
          </p:nvPr>
        </p:nvSpPr>
        <p:spPr/>
        <p:txBody>
          <a:bodyPr/>
          <a:lstStyle/>
          <a:p>
            <a:r>
              <a:rPr lang="en-US"/>
              <a:t>Second example is automated artwork updates</a:t>
            </a:r>
          </a:p>
        </p:txBody>
      </p:sp>
      <p:sp>
        <p:nvSpPr>
          <p:cNvPr id="4" name="Slide Number Placeholder 3">
            <a:extLst>
              <a:ext uri="{FF2B5EF4-FFF2-40B4-BE49-F238E27FC236}">
                <a16:creationId xmlns:a16="http://schemas.microsoft.com/office/drawing/2014/main" id="{728D35B6-1CCC-F4BF-0F68-AB0C3235684C}"/>
              </a:ext>
            </a:extLst>
          </p:cNvPr>
          <p:cNvSpPr>
            <a:spLocks noGrp="1"/>
          </p:cNvSpPr>
          <p:nvPr>
            <p:ph type="sldNum" sz="quarter" idx="5"/>
          </p:nvPr>
        </p:nvSpPr>
        <p:spPr/>
        <p:txBody>
          <a:bodyPr/>
          <a:lstStyle/>
          <a:p>
            <a:fld id="{9E1DC1B0-72E9-EC45-AEEA-E9E8BD96666B}" type="slidenum">
              <a:rPr lang="en-US" smtClean="0"/>
              <a:pPr/>
              <a:t>15</a:t>
            </a:fld>
            <a:endParaRPr lang="en-US"/>
          </a:p>
        </p:txBody>
      </p:sp>
    </p:spTree>
    <p:extLst>
      <p:ext uri="{BB962C8B-B14F-4D97-AF65-F5344CB8AC3E}">
        <p14:creationId xmlns:p14="http://schemas.microsoft.com/office/powerpoint/2010/main" val="4230376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have this today and many companies use it. It’s Rules-based/template driven artwork updates. You define the content, create an artwork template with styling and bring them together to create an artwork. If content changes, you can automatically then update the artwork </a:t>
            </a:r>
          </a:p>
        </p:txBody>
      </p:sp>
      <p:sp>
        <p:nvSpPr>
          <p:cNvPr id="4" name="Slide Number Placeholder 3"/>
          <p:cNvSpPr>
            <a:spLocks noGrp="1"/>
          </p:cNvSpPr>
          <p:nvPr>
            <p:ph type="sldNum" sz="quarter" idx="5"/>
          </p:nvPr>
        </p:nvSpPr>
        <p:spPr/>
        <p:txBody>
          <a:bodyPr/>
          <a:lstStyle/>
          <a:p>
            <a:fld id="{9E1DC1B0-72E9-EC45-AEEA-E9E8BD96666B}" type="slidenum">
              <a:rPr lang="en-US" smtClean="0"/>
              <a:pPr/>
              <a:t>16</a:t>
            </a:fld>
            <a:endParaRPr lang="en-US"/>
          </a:p>
        </p:txBody>
      </p:sp>
    </p:spTree>
    <p:extLst>
      <p:ext uri="{BB962C8B-B14F-4D97-AF65-F5344CB8AC3E}">
        <p14:creationId xmlns:p14="http://schemas.microsoft.com/office/powerpoint/2010/main" val="1971811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94E8D-0E84-A718-72E0-CF0DEDA01E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20175-2D64-53E7-D249-4DD60F02BB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D19283-BBBC-3565-8920-7A885F3A2C5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a:t>Automated artwork can be improved with AI. Agentic artwork means using an AI agent to automatically apply changes to an art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What’s next for artwork automation is Agentic Artwork. Agentic artwork means using an AI agent to automatically apply changes to an artwor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a:p>
          <a:p>
            <a:pPr marL="0" marR="0" lvl="0" indent="0" algn="l" defTabSz="914400" rtl="0" eaLnBrk="1" fontAlgn="auto" latinLnBrk="0" hangingPunct="1">
              <a:lnSpc>
                <a:spcPct val="100000"/>
              </a:lnSpc>
              <a:spcBef>
                <a:spcPts val="0"/>
              </a:spcBef>
              <a:spcAft>
                <a:spcPts val="0"/>
              </a:spcAft>
              <a:buClrTx/>
              <a:buSzTx/>
              <a:buFontTx/>
              <a:buNone/>
              <a:tabLst/>
              <a:defRPr/>
            </a:pPr>
            <a:r>
              <a:rPr lang="en-CA"/>
              <a:t>Quote is for all industries – not artwork specific, but is a good indication of interest and direction</a:t>
            </a:r>
            <a:endParaRPr lang="en-BE"/>
          </a:p>
          <a:p>
            <a:pPr marL="0" marR="0" lvl="0" indent="0" algn="l" defTabSz="914400" rtl="0" eaLnBrk="1" fontAlgn="auto" latinLnBrk="0" hangingPunct="1">
              <a:lnSpc>
                <a:spcPct val="100000"/>
              </a:lnSpc>
              <a:spcBef>
                <a:spcPts val="0"/>
              </a:spcBef>
              <a:spcAft>
                <a:spcPts val="0"/>
              </a:spcAft>
              <a:buClrTx/>
              <a:buSzTx/>
              <a:buFontTx/>
              <a:buNone/>
              <a:tabLst/>
              <a:defRPr/>
            </a:pPr>
            <a:endParaRPr lang="en-BE"/>
          </a:p>
        </p:txBody>
      </p:sp>
      <p:sp>
        <p:nvSpPr>
          <p:cNvPr id="4" name="Slide Number Placeholder 3">
            <a:extLst>
              <a:ext uri="{FF2B5EF4-FFF2-40B4-BE49-F238E27FC236}">
                <a16:creationId xmlns:a16="http://schemas.microsoft.com/office/drawing/2014/main" id="{D5321EC9-55F2-336C-BB75-74CB8F48BC44}"/>
              </a:ext>
            </a:extLst>
          </p:cNvPr>
          <p:cNvSpPr>
            <a:spLocks noGrp="1"/>
          </p:cNvSpPr>
          <p:nvPr>
            <p:ph type="sldNum" sz="quarter" idx="5"/>
          </p:nvPr>
        </p:nvSpPr>
        <p:spPr/>
        <p:txBody>
          <a:bodyPr/>
          <a:lstStyle/>
          <a:p>
            <a:fld id="{9E1DC1B0-72E9-EC45-AEEA-E9E8BD96666B}" type="slidenum">
              <a:rPr lang="en-US" smtClean="0"/>
              <a:pPr/>
              <a:t>17</a:t>
            </a:fld>
            <a:endParaRPr lang="en-US"/>
          </a:p>
        </p:txBody>
      </p:sp>
    </p:spTree>
    <p:extLst>
      <p:ext uri="{BB962C8B-B14F-4D97-AF65-F5344CB8AC3E}">
        <p14:creationId xmlns:p14="http://schemas.microsoft.com/office/powerpoint/2010/main" val="22627992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s how the process for Agentic Artwork flows: Artwork changes</a:t>
            </a:r>
          </a:p>
          <a:p>
            <a:pPr marL="171450" indent="-171450">
              <a:buFont typeface="Arial" panose="020B0604020202020204" pitchFamily="34" charset="0"/>
              <a:buChar char="•"/>
            </a:pPr>
            <a:r>
              <a:rPr lang="en-US"/>
              <a:t>The brief could be a Word doc or a Form, or an annotated previous version of a label or carton</a:t>
            </a:r>
          </a:p>
          <a:p>
            <a:pPr marL="171450" indent="-171450">
              <a:buFont typeface="Arial" panose="020B0604020202020204" pitchFamily="34" charset="0"/>
              <a:buChar char="•"/>
            </a:pPr>
            <a:r>
              <a:rPr lang="en-US"/>
              <a:t>The AI Agent reads the brief and determines what changes are needed to the artwork</a:t>
            </a:r>
          </a:p>
          <a:p>
            <a:pPr marL="171450" indent="-171450">
              <a:buFont typeface="Arial" panose="020B0604020202020204" pitchFamily="34" charset="0"/>
              <a:buChar char="•"/>
            </a:pPr>
            <a:r>
              <a:rPr lang="en-US"/>
              <a:t>It then automatically updates the </a:t>
            </a:r>
            <a:r>
              <a:rPr lang="en-US" b="1"/>
              <a:t>Illustrator</a:t>
            </a:r>
            <a:r>
              <a:rPr lang="en-US"/>
              <a:t> file with the changes and itemizes them for the production artist to verify and accept</a:t>
            </a:r>
          </a:p>
        </p:txBody>
      </p:sp>
      <p:sp>
        <p:nvSpPr>
          <p:cNvPr id="4" name="Slide Number Placeholder 3"/>
          <p:cNvSpPr>
            <a:spLocks noGrp="1"/>
          </p:cNvSpPr>
          <p:nvPr>
            <p:ph type="sldNum" sz="quarter" idx="5"/>
          </p:nvPr>
        </p:nvSpPr>
        <p:spPr/>
        <p:txBody>
          <a:bodyPr/>
          <a:lstStyle/>
          <a:p>
            <a:fld id="{9E1DC1B0-72E9-EC45-AEEA-E9E8BD96666B}" type="slidenum">
              <a:rPr lang="en-US" smtClean="0"/>
              <a:pPr/>
              <a:t>18</a:t>
            </a:fld>
            <a:endParaRPr lang="en-US"/>
          </a:p>
        </p:txBody>
      </p:sp>
    </p:spTree>
    <p:extLst>
      <p:ext uri="{BB962C8B-B14F-4D97-AF65-F5344CB8AC3E}">
        <p14:creationId xmlns:p14="http://schemas.microsoft.com/office/powerpoint/2010/main" val="2061918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585F1F-975B-3B89-4304-55AC4D5E98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15EF19-16AD-0448-CB91-6914059D0A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E98C97-3B32-6368-3CB4-2140EEBAEB21}"/>
              </a:ext>
            </a:extLst>
          </p:cNvPr>
          <p:cNvSpPr>
            <a:spLocks noGrp="1"/>
          </p:cNvSpPr>
          <p:nvPr>
            <p:ph type="body" idx="1"/>
          </p:nvPr>
        </p:nvSpPr>
        <p:spPr/>
        <p:txBody>
          <a:bodyPr/>
          <a:lstStyle/>
          <a:p>
            <a:r>
              <a:rPr lang="en-US"/>
              <a:t>Similarly, with a PIL, </a:t>
            </a:r>
          </a:p>
          <a:p>
            <a:pPr marL="171450" indent="-171450">
              <a:buFont typeface="Arial" panose="020B0604020202020204" pitchFamily="34" charset="0"/>
              <a:buChar char="•"/>
            </a:pPr>
            <a:r>
              <a:rPr lang="en-US"/>
              <a:t>You start with whatever your source is, which is often a Word doc</a:t>
            </a:r>
          </a:p>
          <a:p>
            <a:pPr marL="171450" indent="-171450">
              <a:buFont typeface="Arial" panose="020B0604020202020204" pitchFamily="34" charset="0"/>
              <a:buChar char="•"/>
            </a:pPr>
            <a:r>
              <a:rPr lang="en-US"/>
              <a:t>The agent will review the Word doc and determine what changes are required to the PIL</a:t>
            </a:r>
          </a:p>
          <a:p>
            <a:pPr marL="171450" indent="-171450">
              <a:buFont typeface="Arial" panose="020B0604020202020204" pitchFamily="34" charset="0"/>
              <a:buChar char="•"/>
            </a:pPr>
            <a:r>
              <a:rPr lang="en-US"/>
              <a:t>It will then automatically make the changes in the </a:t>
            </a:r>
            <a:r>
              <a:rPr lang="en-US" b="1" err="1"/>
              <a:t>Indesign</a:t>
            </a:r>
            <a:r>
              <a:rPr lang="en-US"/>
              <a:t> file and the production artist will verify and accept them</a:t>
            </a:r>
          </a:p>
        </p:txBody>
      </p:sp>
      <p:sp>
        <p:nvSpPr>
          <p:cNvPr id="4" name="Slide Number Placeholder 3">
            <a:extLst>
              <a:ext uri="{FF2B5EF4-FFF2-40B4-BE49-F238E27FC236}">
                <a16:creationId xmlns:a16="http://schemas.microsoft.com/office/drawing/2014/main" id="{C46D998F-2729-44AA-2F12-3B5E94C49AF6}"/>
              </a:ext>
            </a:extLst>
          </p:cNvPr>
          <p:cNvSpPr>
            <a:spLocks noGrp="1"/>
          </p:cNvSpPr>
          <p:nvPr>
            <p:ph type="sldNum" sz="quarter" idx="5"/>
          </p:nvPr>
        </p:nvSpPr>
        <p:spPr/>
        <p:txBody>
          <a:bodyPr/>
          <a:lstStyle/>
          <a:p>
            <a:fld id="{9E1DC1B0-72E9-EC45-AEEA-E9E8BD96666B}" type="slidenum">
              <a:rPr lang="en-US" smtClean="0"/>
              <a:pPr/>
              <a:t>19</a:t>
            </a:fld>
            <a:endParaRPr lang="en-US"/>
          </a:p>
        </p:txBody>
      </p:sp>
    </p:spTree>
    <p:extLst>
      <p:ext uri="{BB962C8B-B14F-4D97-AF65-F5344CB8AC3E}">
        <p14:creationId xmlns:p14="http://schemas.microsoft.com/office/powerpoint/2010/main" val="262644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42F245-68E8-47AB-A117-D308087CB0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6E8AF0-AD0A-B607-08FC-D87945C9F60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B62ABB0-E2E0-0148-3228-A7EC994891C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7BB92C-56F7-9E38-F4BE-0170AD5ABE45}"/>
              </a:ext>
            </a:extLst>
          </p:cNvPr>
          <p:cNvSpPr>
            <a:spLocks noGrp="1"/>
          </p:cNvSpPr>
          <p:nvPr>
            <p:ph type="sldNum" sz="quarter" idx="5"/>
          </p:nvPr>
        </p:nvSpPr>
        <p:spPr/>
        <p:txBody>
          <a:bodyPr/>
          <a:lstStyle/>
          <a:p>
            <a:fld id="{9E1DC1B0-72E9-EC45-AEEA-E9E8BD96666B}" type="slidenum">
              <a:rPr lang="en-US" smtClean="0"/>
              <a:t>2</a:t>
            </a:fld>
            <a:endParaRPr lang="en-US"/>
          </a:p>
        </p:txBody>
      </p:sp>
    </p:spTree>
    <p:extLst>
      <p:ext uri="{BB962C8B-B14F-4D97-AF65-F5344CB8AC3E}">
        <p14:creationId xmlns:p14="http://schemas.microsoft.com/office/powerpoint/2010/main" val="29470624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897DE-3606-5164-2AAE-31151CD1BF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7679C9-94CD-7564-D668-8FDC73BE0BB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174BBFD-681B-A487-4797-258611C4F653}"/>
              </a:ext>
            </a:extLst>
          </p:cNvPr>
          <p:cNvSpPr>
            <a:spLocks noGrp="1"/>
          </p:cNvSpPr>
          <p:nvPr>
            <p:ph type="body" idx="1"/>
          </p:nvPr>
        </p:nvSpPr>
        <p:spPr/>
        <p:txBody>
          <a:bodyPr/>
          <a:lstStyle/>
          <a:p>
            <a:r>
              <a:rPr lang="en-US"/>
              <a:t>I’ve spoken about 2 examples of using AI to assist with the artwork change process, but for the foreseeable future a HITL is still needed. This is not a replacement of reviews and approvals that are required.</a:t>
            </a:r>
          </a:p>
          <a:p>
            <a:endParaRPr lang="en-US"/>
          </a:p>
          <a:p>
            <a:r>
              <a:rPr lang="en-US"/>
              <a:t>Both examples drive:</a:t>
            </a:r>
          </a:p>
          <a:p>
            <a:pPr marL="171450" indent="-171450">
              <a:buFontTx/>
              <a:buChar char="-"/>
            </a:pPr>
            <a:r>
              <a:rPr lang="en-US"/>
              <a:t>Increased quality</a:t>
            </a:r>
          </a:p>
          <a:p>
            <a:pPr marL="171450" indent="-171450">
              <a:buFontTx/>
              <a:buChar char="-"/>
            </a:pPr>
            <a:r>
              <a:rPr lang="en-US"/>
              <a:t>Faster execution times</a:t>
            </a:r>
          </a:p>
          <a:p>
            <a:pPr marL="171450" indent="-171450">
              <a:buFontTx/>
              <a:buChar char="-"/>
            </a:pPr>
            <a:r>
              <a:rPr lang="en-US"/>
              <a:t>Reduced manual touchpoints</a:t>
            </a:r>
          </a:p>
        </p:txBody>
      </p:sp>
      <p:sp>
        <p:nvSpPr>
          <p:cNvPr id="4" name="Slide Number Placeholder 3">
            <a:extLst>
              <a:ext uri="{FF2B5EF4-FFF2-40B4-BE49-F238E27FC236}">
                <a16:creationId xmlns:a16="http://schemas.microsoft.com/office/drawing/2014/main" id="{D7B541FE-2F87-19FE-8669-EEB1DCA49CF0}"/>
              </a:ext>
            </a:extLst>
          </p:cNvPr>
          <p:cNvSpPr>
            <a:spLocks noGrp="1"/>
          </p:cNvSpPr>
          <p:nvPr>
            <p:ph type="sldNum" sz="quarter" idx="5"/>
          </p:nvPr>
        </p:nvSpPr>
        <p:spPr/>
        <p:txBody>
          <a:bodyPr/>
          <a:lstStyle/>
          <a:p>
            <a:fld id="{9E1DC1B0-72E9-EC45-AEEA-E9E8BD96666B}" type="slidenum">
              <a:rPr lang="en-US" smtClean="0"/>
              <a:pPr/>
              <a:t>20</a:t>
            </a:fld>
            <a:endParaRPr lang="en-US"/>
          </a:p>
        </p:txBody>
      </p:sp>
    </p:spTree>
    <p:extLst>
      <p:ext uri="{BB962C8B-B14F-4D97-AF65-F5344CB8AC3E}">
        <p14:creationId xmlns:p14="http://schemas.microsoft.com/office/powerpoint/2010/main" val="8026925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8D637-F59B-2434-EAFB-98BD43F2E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366842-C94E-B667-D6F1-54150F025D9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576CF93-0ED9-01FA-0AA8-EA74B365E60E}"/>
              </a:ext>
            </a:extLst>
          </p:cNvPr>
          <p:cNvSpPr>
            <a:spLocks noGrp="1"/>
          </p:cNvSpPr>
          <p:nvPr>
            <p:ph type="body" idx="1"/>
          </p:nvPr>
        </p:nvSpPr>
        <p:spPr/>
        <p:txBody>
          <a:bodyPr/>
          <a:lstStyle/>
          <a:p>
            <a:r>
              <a:rPr lang="en-US"/>
              <a:t>One more topic for today is the “connected ecosystem”</a:t>
            </a:r>
          </a:p>
          <a:p>
            <a:endParaRPr lang="en-US"/>
          </a:p>
          <a:p>
            <a:r>
              <a:rPr lang="en-US"/>
              <a:t>The solutions I’ve spoken about – automated quality &amp; compliance checks and automated artwork changes – are 2 solutions or functions within the packaging ecosystem</a:t>
            </a:r>
          </a:p>
          <a:p>
            <a:endParaRPr lang="en-US"/>
          </a:p>
          <a:p>
            <a:r>
              <a:rPr lang="en-US"/>
              <a:t>This future state is a much bigger topic than we have time to cover in detail here today, but I will give you a brief preview of it</a:t>
            </a:r>
          </a:p>
        </p:txBody>
      </p:sp>
      <p:sp>
        <p:nvSpPr>
          <p:cNvPr id="4" name="Slide Number Placeholder 3">
            <a:extLst>
              <a:ext uri="{FF2B5EF4-FFF2-40B4-BE49-F238E27FC236}">
                <a16:creationId xmlns:a16="http://schemas.microsoft.com/office/drawing/2014/main" id="{A6B0BF4D-5026-75BC-0806-DC02A1BBBBDE}"/>
              </a:ext>
            </a:extLst>
          </p:cNvPr>
          <p:cNvSpPr>
            <a:spLocks noGrp="1"/>
          </p:cNvSpPr>
          <p:nvPr>
            <p:ph type="sldNum" sz="quarter" idx="5"/>
          </p:nvPr>
        </p:nvSpPr>
        <p:spPr/>
        <p:txBody>
          <a:bodyPr/>
          <a:lstStyle/>
          <a:p>
            <a:fld id="{9E1DC1B0-72E9-EC45-AEEA-E9E8BD96666B}" type="slidenum">
              <a:rPr lang="en-US" smtClean="0"/>
              <a:t>21</a:t>
            </a:fld>
            <a:endParaRPr lang="en-US"/>
          </a:p>
        </p:txBody>
      </p:sp>
    </p:spTree>
    <p:extLst>
      <p:ext uri="{BB962C8B-B14F-4D97-AF65-F5344CB8AC3E}">
        <p14:creationId xmlns:p14="http://schemas.microsoft.com/office/powerpoint/2010/main" val="31106038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22BD1-2A0E-E0E6-16C2-FB602E8F54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BF23D8-5B3F-6B06-6FFB-3887936637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1FFA06-9B98-0236-A74E-0AD675ADA7A9}"/>
              </a:ext>
            </a:extLst>
          </p:cNvPr>
          <p:cNvSpPr>
            <a:spLocks noGrp="1"/>
          </p:cNvSpPr>
          <p:nvPr>
            <p:ph type="body" idx="1"/>
          </p:nvPr>
        </p:nvSpPr>
        <p:spPr>
          <a:xfrm>
            <a:off x="677863" y="4773613"/>
            <a:ext cx="5426075" cy="3905250"/>
          </a:xfrm>
          <a:prstGeom prst="rect">
            <a:avLst/>
          </a:prstGeom>
        </p:spPr>
        <p:txBody>
          <a:bodyPr/>
          <a:lstStyle/>
          <a:p>
            <a:r>
              <a:rPr lang="en-US"/>
              <a:t>Anyone familiar with Esko’s product suite may recognize some of the logos in the circles. We have many tools that are used for design, structural design, color checks, automated workflows, prepress tools - everything from design through to print.</a:t>
            </a:r>
          </a:p>
          <a:p>
            <a:r>
              <a:rPr lang="en-US"/>
              <a:t>They all support business critical functions, Artwork can’t get created without these types of tools.</a:t>
            </a:r>
          </a:p>
          <a:p>
            <a:endParaRPr lang="en-US"/>
          </a:p>
          <a:p>
            <a:r>
              <a:rPr lang="en-US"/>
              <a:t>With more complexity now than ever before – from more regulatory changes, sustainability considerations, more market and regional requirements -  there is a growing need to get more out of the tool set.</a:t>
            </a:r>
          </a:p>
        </p:txBody>
      </p:sp>
      <p:sp>
        <p:nvSpPr>
          <p:cNvPr id="4" name="Slide Number Placeholder 3">
            <a:extLst>
              <a:ext uri="{FF2B5EF4-FFF2-40B4-BE49-F238E27FC236}">
                <a16:creationId xmlns:a16="http://schemas.microsoft.com/office/drawing/2014/main" id="{4E1482A8-F695-5FAB-C481-EF5D74728809}"/>
              </a:ext>
            </a:extLst>
          </p:cNvPr>
          <p:cNvSpPr>
            <a:spLocks noGrp="1"/>
          </p:cNvSpPr>
          <p:nvPr>
            <p:ph type="sldNum" sz="quarter" idx="5"/>
          </p:nvPr>
        </p:nvSpPr>
        <p:spPr/>
        <p:txBody>
          <a:bodyPr/>
          <a:lstStyle/>
          <a:p>
            <a:pPr marL="0" marR="0" lvl="0" indent="0" algn="r" defTabSz="939800" rtl="0" eaLnBrk="0" fontAlgn="base" latinLnBrk="0" hangingPunct="0">
              <a:lnSpc>
                <a:spcPct val="100000"/>
              </a:lnSpc>
              <a:spcBef>
                <a:spcPct val="0"/>
              </a:spcBef>
              <a:spcAft>
                <a:spcPct val="0"/>
              </a:spcAft>
              <a:buClrTx/>
              <a:buSzTx/>
              <a:buFontTx/>
              <a:buNone/>
              <a:tabLst/>
              <a:defRPr/>
            </a:pPr>
            <a:fld id="{91134B59-34DD-8847-8696-8421AE91BF75}" type="slidenum">
              <a:rPr kumimoji="0" lang="en-GB" sz="1300" b="1" i="0" u="none" strike="noStrike" kern="1200" cap="none" spc="0" normalizeH="0" baseline="0" noProof="0" smtClean="0">
                <a:ln>
                  <a:noFill/>
                </a:ln>
                <a:solidFill>
                  <a:srgbClr val="000000"/>
                </a:solidFill>
                <a:effectLst/>
                <a:uLnTx/>
                <a:uFillTx/>
                <a:latin typeface="Tiempos Headline Semibold" panose="02020703060303060403" pitchFamily="18" charset="77"/>
                <a:ea typeface="ＭＳ Ｐゴシック" charset="-128"/>
              </a:rPr>
              <a:pPr marL="0" marR="0" lvl="0" indent="0" algn="r" defTabSz="939800" rtl="0" eaLnBrk="0" fontAlgn="base" latinLnBrk="0" hangingPunct="0">
                <a:lnSpc>
                  <a:spcPct val="100000"/>
                </a:lnSpc>
                <a:spcBef>
                  <a:spcPct val="0"/>
                </a:spcBef>
                <a:spcAft>
                  <a:spcPct val="0"/>
                </a:spcAft>
                <a:buClrTx/>
                <a:buSzTx/>
                <a:buFontTx/>
                <a:buNone/>
                <a:tabLst/>
                <a:defRPr/>
              </a:pPr>
              <a:t>22</a:t>
            </a:fld>
            <a:endParaRPr kumimoji="0" lang="en-GB" sz="1300" b="1" i="0" u="none" strike="noStrike" kern="1200" cap="none" spc="0" normalizeH="0" baseline="0" noProof="0">
              <a:ln>
                <a:noFill/>
              </a:ln>
              <a:solidFill>
                <a:srgbClr val="000000"/>
              </a:solidFill>
              <a:effectLst/>
              <a:uLnTx/>
              <a:uFillTx/>
              <a:latin typeface="Tiempos Headline Semibold" panose="02020703060303060403" pitchFamily="18" charset="77"/>
              <a:ea typeface="ＭＳ Ｐゴシック" charset="-128"/>
            </a:endParaRPr>
          </a:p>
        </p:txBody>
      </p:sp>
    </p:spTree>
    <p:extLst>
      <p:ext uri="{BB962C8B-B14F-4D97-AF65-F5344CB8AC3E}">
        <p14:creationId xmlns:p14="http://schemas.microsoft.com/office/powerpoint/2010/main" val="16170453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7E9BD-F49B-61A9-3B75-955760BA13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04681-30B7-7BB9-0C0E-10642D38E9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DC8E73-7BEF-549B-3802-12A12E0C0359}"/>
              </a:ext>
            </a:extLst>
          </p:cNvPr>
          <p:cNvSpPr>
            <a:spLocks noGrp="1"/>
          </p:cNvSpPr>
          <p:nvPr>
            <p:ph type="body" idx="1"/>
          </p:nvPr>
        </p:nvSpPr>
        <p:spPr>
          <a:xfrm>
            <a:off x="677863" y="4773613"/>
            <a:ext cx="5426075" cy="3905250"/>
          </a:xfrm>
          <a:prstGeom prst="rect">
            <a:avLst/>
          </a:prstGeom>
        </p:spPr>
        <p:txBody>
          <a:bodyPr/>
          <a:lstStyle/>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a:solidFill>
                  <a:schemeClr val="tx1"/>
                </a:solidFill>
                <a:effectLst/>
                <a:latin typeface="TT Commons Pro" panose="020B0103030102020204" pitchFamily="34" charset="77"/>
                <a:ea typeface="+mn-ea"/>
                <a:cs typeface="+mn-cs"/>
              </a:rPr>
              <a:t>Over the last few years we’ve been moving our solutions to the cloud and connecting them.</a:t>
            </a:r>
          </a:p>
          <a:p>
            <a:endParaRPr lang="en-US"/>
          </a:p>
          <a:p>
            <a:r>
              <a:rPr lang="en-US"/>
              <a:t>The goal is to improve packaging processes and operations to drive efficiency with a connected ecosystem</a:t>
            </a:r>
          </a:p>
          <a:p>
            <a:endParaRPr lang="en-CA" sz="1200" b="0" i="0" u="none" strike="noStrike" kern="1200">
              <a:solidFill>
                <a:schemeClr val="tx1"/>
              </a:solidFill>
              <a:effectLst/>
              <a:latin typeface="TT Commons Pro" panose="020B01030301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a:solidFill>
                  <a:schemeClr val="tx1"/>
                </a:solidFill>
                <a:effectLst/>
                <a:latin typeface="TT Commons Pro" panose="020B0103030102020204" pitchFamily="34" charset="77"/>
                <a:ea typeface="+mn-ea"/>
                <a:cs typeface="+mn-cs"/>
              </a:rPr>
              <a:t>This cloud approach is more than the traditional API Connectors model for integration, or changing from installed software to logging into a SaaS solution…</a:t>
            </a:r>
          </a:p>
          <a:p>
            <a:endParaRPr lang="en-US"/>
          </a:p>
        </p:txBody>
      </p:sp>
      <p:sp>
        <p:nvSpPr>
          <p:cNvPr id="4" name="Slide Number Placeholder 3">
            <a:extLst>
              <a:ext uri="{FF2B5EF4-FFF2-40B4-BE49-F238E27FC236}">
                <a16:creationId xmlns:a16="http://schemas.microsoft.com/office/drawing/2014/main" id="{4756F120-D091-1C40-CF18-26A7185FA4E4}"/>
              </a:ext>
            </a:extLst>
          </p:cNvPr>
          <p:cNvSpPr>
            <a:spLocks noGrp="1"/>
          </p:cNvSpPr>
          <p:nvPr>
            <p:ph type="sldNum" sz="quarter" idx="5"/>
          </p:nvPr>
        </p:nvSpPr>
        <p:spPr/>
        <p:txBody>
          <a:bodyPr/>
          <a:lstStyle/>
          <a:p>
            <a:fld id="{91134B59-34DD-8847-8696-8421AE91BF75}" type="slidenum">
              <a:rPr lang="en-GB" smtClean="0"/>
              <a:pPr/>
              <a:t>23</a:t>
            </a:fld>
            <a:endParaRPr lang="en-GB"/>
          </a:p>
        </p:txBody>
      </p:sp>
    </p:spTree>
    <p:extLst>
      <p:ext uri="{BB962C8B-B14F-4D97-AF65-F5344CB8AC3E}">
        <p14:creationId xmlns:p14="http://schemas.microsoft.com/office/powerpoint/2010/main" val="39771001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C533B-CD6E-92E7-A37A-345EF21FD8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B918A9-760D-5DD5-EBD2-5718E9B2F7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B897B3-919D-FD80-DBCB-B78551BDF90C}"/>
              </a:ext>
            </a:extLst>
          </p:cNvPr>
          <p:cNvSpPr>
            <a:spLocks noGrp="1"/>
          </p:cNvSpPr>
          <p:nvPr>
            <p:ph type="body" idx="1"/>
          </p:nvPr>
        </p:nvSpPr>
        <p:spPr>
          <a:xfrm>
            <a:off x="677863" y="4773613"/>
            <a:ext cx="5426075" cy="3905250"/>
          </a:xfrm>
          <a:prstGeom prst="rect">
            <a:avLst/>
          </a:prstGeom>
        </p:spPr>
        <p:txBody>
          <a:bodyPr/>
          <a:lstStyle/>
          <a:p>
            <a:r>
              <a:rPr lang="en-CA" sz="1200" b="0" i="0" u="none" strike="noStrike" kern="1200">
                <a:solidFill>
                  <a:schemeClr val="tx1"/>
                </a:solidFill>
                <a:effectLst/>
                <a:latin typeface="TT Commons Pro" panose="020B0103030102020204" pitchFamily="34" charset="77"/>
                <a:ea typeface="+mn-ea"/>
                <a:cs typeface="+mn-cs"/>
              </a:rPr>
              <a:t>What’s really happening here is that we’re not just connecting products—we’re </a:t>
            </a:r>
            <a:r>
              <a:rPr lang="en-CA" sz="1200" b="1" i="0" u="none" strike="noStrike" kern="1200">
                <a:solidFill>
                  <a:schemeClr val="tx1"/>
                </a:solidFill>
                <a:effectLst/>
                <a:latin typeface="TT Commons Pro" panose="020B0103030102020204" pitchFamily="34" charset="77"/>
                <a:ea typeface="+mn-ea"/>
                <a:cs typeface="+mn-cs"/>
              </a:rPr>
              <a:t>dismembering products into capabilities/skills</a:t>
            </a:r>
            <a:r>
              <a:rPr lang="en-CA" sz="1200" b="0" i="0" u="none" strike="noStrike" kern="1200">
                <a:solidFill>
                  <a:schemeClr val="tx1"/>
                </a:solidFill>
                <a:effectLst/>
                <a:latin typeface="TT Commons Pro" panose="020B0103030102020204" pitchFamily="34" charset="77"/>
                <a:ea typeface="+mn-ea"/>
                <a:cs typeface="+mn-cs"/>
              </a:rPr>
              <a:t>.</a:t>
            </a:r>
          </a:p>
          <a:p>
            <a:r>
              <a:rPr lang="en-CA" sz="1200" b="0" i="0" u="none" strike="noStrike" kern="1200">
                <a:solidFill>
                  <a:schemeClr val="tx1"/>
                </a:solidFill>
                <a:effectLst/>
                <a:latin typeface="TT Commons Pro" panose="020B0103030102020204" pitchFamily="34" charset="77"/>
                <a:ea typeface="+mn-ea"/>
                <a:cs typeface="+mn-cs"/>
              </a:rPr>
              <a:t>Think of our products as a set of skills that can be taken apart and recombined.</a:t>
            </a:r>
          </a:p>
          <a:p>
            <a:r>
              <a:rPr lang="en-CA" sz="1200" b="0" i="0" u="none" strike="noStrike" kern="1200">
                <a:solidFill>
                  <a:schemeClr val="tx1"/>
                </a:solidFill>
                <a:effectLst/>
                <a:latin typeface="TT Commons Pro" panose="020B0103030102020204" pitchFamily="34" charset="77"/>
                <a:ea typeface="+mn-ea"/>
                <a:cs typeface="+mn-cs"/>
              </a:rPr>
              <a:t>The result is a connected execution platform where skills can trigger the next skill immediately with less, or maybe no, manual orchestration.</a:t>
            </a:r>
          </a:p>
        </p:txBody>
      </p:sp>
      <p:sp>
        <p:nvSpPr>
          <p:cNvPr id="4" name="Slide Number Placeholder 3">
            <a:extLst>
              <a:ext uri="{FF2B5EF4-FFF2-40B4-BE49-F238E27FC236}">
                <a16:creationId xmlns:a16="http://schemas.microsoft.com/office/drawing/2014/main" id="{8EB7D0B5-E26B-D7CB-64CE-B7FD7FFE048A}"/>
              </a:ext>
            </a:extLst>
          </p:cNvPr>
          <p:cNvSpPr>
            <a:spLocks noGrp="1"/>
          </p:cNvSpPr>
          <p:nvPr>
            <p:ph type="sldNum" sz="quarter" idx="5"/>
          </p:nvPr>
        </p:nvSpPr>
        <p:spPr/>
        <p:txBody>
          <a:bodyPr/>
          <a:lstStyle/>
          <a:p>
            <a:pPr marL="0" marR="0" lvl="0" indent="0" algn="r" defTabSz="939800" rtl="0" eaLnBrk="0" fontAlgn="base" latinLnBrk="0" hangingPunct="0">
              <a:lnSpc>
                <a:spcPct val="100000"/>
              </a:lnSpc>
              <a:spcBef>
                <a:spcPct val="0"/>
              </a:spcBef>
              <a:spcAft>
                <a:spcPct val="0"/>
              </a:spcAft>
              <a:buClrTx/>
              <a:buSzTx/>
              <a:buFontTx/>
              <a:buNone/>
              <a:tabLst/>
              <a:defRPr/>
            </a:pPr>
            <a:fld id="{91134B59-34DD-8847-8696-8421AE91BF75}" type="slidenum">
              <a:rPr kumimoji="0" lang="en-GB" sz="1300" b="1" i="0" u="none" strike="noStrike" kern="1200" cap="none" spc="0" normalizeH="0" baseline="0" noProof="0" smtClean="0">
                <a:ln>
                  <a:noFill/>
                </a:ln>
                <a:solidFill>
                  <a:srgbClr val="000000"/>
                </a:solidFill>
                <a:effectLst/>
                <a:uLnTx/>
                <a:uFillTx/>
                <a:latin typeface="Tiempos Headline Semibold" panose="02020703060303060403" pitchFamily="18" charset="77"/>
                <a:ea typeface="ＭＳ Ｐゴシック" charset="-128"/>
              </a:rPr>
              <a:pPr marL="0" marR="0" lvl="0" indent="0" algn="r" defTabSz="939800" rtl="0" eaLnBrk="0" fontAlgn="base" latinLnBrk="0" hangingPunct="0">
                <a:lnSpc>
                  <a:spcPct val="100000"/>
                </a:lnSpc>
                <a:spcBef>
                  <a:spcPct val="0"/>
                </a:spcBef>
                <a:spcAft>
                  <a:spcPct val="0"/>
                </a:spcAft>
                <a:buClrTx/>
                <a:buSzTx/>
                <a:buFontTx/>
                <a:buNone/>
                <a:tabLst/>
                <a:defRPr/>
              </a:pPr>
              <a:t>24</a:t>
            </a:fld>
            <a:endParaRPr kumimoji="0" lang="en-GB" sz="1300" b="1" i="0" u="none" strike="noStrike" kern="1200" cap="none" spc="0" normalizeH="0" baseline="0" noProof="0">
              <a:ln>
                <a:noFill/>
              </a:ln>
              <a:solidFill>
                <a:srgbClr val="000000"/>
              </a:solidFill>
              <a:effectLst/>
              <a:uLnTx/>
              <a:uFillTx/>
              <a:latin typeface="Tiempos Headline Semibold" panose="02020703060303060403" pitchFamily="18" charset="77"/>
              <a:ea typeface="ＭＳ Ｐゴシック" charset="-128"/>
            </a:endParaRPr>
          </a:p>
        </p:txBody>
      </p:sp>
    </p:spTree>
    <p:extLst>
      <p:ext uri="{BB962C8B-B14F-4D97-AF65-F5344CB8AC3E}">
        <p14:creationId xmlns:p14="http://schemas.microsoft.com/office/powerpoint/2010/main" val="39094776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00F1B-DD6E-9039-FFAB-15C53A02E5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6FFAF-86D4-48ED-7F5C-59E842DB82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198DBC-E408-F58E-9291-1C9703D5D863}"/>
              </a:ext>
            </a:extLst>
          </p:cNvPr>
          <p:cNvSpPr>
            <a:spLocks noGrp="1"/>
          </p:cNvSpPr>
          <p:nvPr>
            <p:ph type="body" idx="1"/>
          </p:nvPr>
        </p:nvSpPr>
        <p:spPr>
          <a:xfrm>
            <a:off x="677863" y="4773613"/>
            <a:ext cx="5426075" cy="3905250"/>
          </a:xfrm>
          <a:prstGeom prst="rect">
            <a:avLst/>
          </a:prstGeom>
        </p:spPr>
        <p:txBody>
          <a:bodyPr/>
          <a:lstStyle/>
          <a:p>
            <a:endParaRPr lang="en-US" dirty="0"/>
          </a:p>
          <a:p>
            <a:r>
              <a:rPr lang="en-US" dirty="0"/>
              <a:t>This is a very different executional model…</a:t>
            </a:r>
          </a:p>
          <a:p>
            <a:r>
              <a:rPr lang="en-US" dirty="0"/>
              <a:t>For example: you have a request for a regulatory change to artwork. Maybe a regulatory intelligence tool is being used such as </a:t>
            </a:r>
            <a:r>
              <a:rPr lang="en-US" dirty="0" err="1"/>
              <a:t>RegAsk</a:t>
            </a:r>
            <a:r>
              <a:rPr lang="en-US" dirty="0"/>
              <a:t>, that helps you keep track of regulatory requirements in all different regions. An Agent then checks to see what copy needs to change in which markets, and what SKUs and components are impacted.</a:t>
            </a:r>
          </a:p>
          <a:p>
            <a:r>
              <a:rPr lang="en-US" dirty="0"/>
              <a:t>Checks are also automatically done to see if new images will be needed for marketing collateral.</a:t>
            </a:r>
          </a:p>
          <a:p>
            <a:r>
              <a:rPr lang="en-US" dirty="0"/>
              <a:t>And if a carton needs to change size, an Agent can help with the structural design change and the palletization reconfiguration.</a:t>
            </a:r>
          </a:p>
          <a:p>
            <a:endParaRPr lang="en-US" dirty="0"/>
          </a:p>
          <a:p>
            <a:r>
              <a:rPr lang="en-US" dirty="0"/>
              <a:t>In other words, everything is connected and you have oversight into all stages of the proces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diagram makes me think of a Large Language Model – if you’re familiar with that image and how it works, with nodes of information that an AI uses to get information and formulate responses. This is not dissimilar. AI agents will use information from the various sources to help guide the process, and trigger other Agents to take action.</a:t>
            </a:r>
          </a:p>
          <a:p>
            <a:endParaRPr lang="en-US" dirty="0"/>
          </a:p>
        </p:txBody>
      </p:sp>
      <p:sp>
        <p:nvSpPr>
          <p:cNvPr id="4" name="Slide Number Placeholder 3">
            <a:extLst>
              <a:ext uri="{FF2B5EF4-FFF2-40B4-BE49-F238E27FC236}">
                <a16:creationId xmlns:a16="http://schemas.microsoft.com/office/drawing/2014/main" id="{52B301FE-4ED8-EB21-BDAA-A088E9F6B9D2}"/>
              </a:ext>
            </a:extLst>
          </p:cNvPr>
          <p:cNvSpPr>
            <a:spLocks noGrp="1"/>
          </p:cNvSpPr>
          <p:nvPr>
            <p:ph type="sldNum" sz="quarter" idx="5"/>
          </p:nvPr>
        </p:nvSpPr>
        <p:spPr/>
        <p:txBody>
          <a:bodyPr/>
          <a:lstStyle/>
          <a:p>
            <a:pPr marL="0" marR="0" lvl="0" indent="0" algn="r" defTabSz="939800" rtl="0" eaLnBrk="0" fontAlgn="base" latinLnBrk="0" hangingPunct="0">
              <a:lnSpc>
                <a:spcPct val="100000"/>
              </a:lnSpc>
              <a:spcBef>
                <a:spcPct val="0"/>
              </a:spcBef>
              <a:spcAft>
                <a:spcPct val="0"/>
              </a:spcAft>
              <a:buClrTx/>
              <a:buSzTx/>
              <a:buFontTx/>
              <a:buNone/>
              <a:tabLst/>
              <a:defRPr/>
            </a:pPr>
            <a:fld id="{91134B59-34DD-8847-8696-8421AE91BF75}" type="slidenum">
              <a:rPr kumimoji="0" lang="en-GB" sz="1300" b="1" i="0" u="none" strike="noStrike" kern="1200" cap="none" spc="0" normalizeH="0" baseline="0" noProof="0" smtClean="0">
                <a:ln>
                  <a:noFill/>
                </a:ln>
                <a:solidFill>
                  <a:srgbClr val="000000"/>
                </a:solidFill>
                <a:effectLst/>
                <a:uLnTx/>
                <a:uFillTx/>
                <a:latin typeface="Tiempos Headline Semibold" panose="02020703060303060403" pitchFamily="18" charset="77"/>
                <a:ea typeface="ＭＳ Ｐゴシック" charset="-128"/>
              </a:rPr>
              <a:pPr marL="0" marR="0" lvl="0" indent="0" algn="r" defTabSz="939800" rtl="0" eaLnBrk="0" fontAlgn="base" latinLnBrk="0" hangingPunct="0">
                <a:lnSpc>
                  <a:spcPct val="100000"/>
                </a:lnSpc>
                <a:spcBef>
                  <a:spcPct val="0"/>
                </a:spcBef>
                <a:spcAft>
                  <a:spcPct val="0"/>
                </a:spcAft>
                <a:buClrTx/>
                <a:buSzTx/>
                <a:buFontTx/>
                <a:buNone/>
                <a:tabLst/>
                <a:defRPr/>
              </a:pPr>
              <a:t>25</a:t>
            </a:fld>
            <a:endParaRPr kumimoji="0" lang="en-GB" sz="1300" b="1" i="0" u="none" strike="noStrike" kern="1200" cap="none" spc="0" normalizeH="0" baseline="0" noProof="0">
              <a:ln>
                <a:noFill/>
              </a:ln>
              <a:solidFill>
                <a:srgbClr val="000000"/>
              </a:solidFill>
              <a:effectLst/>
              <a:uLnTx/>
              <a:uFillTx/>
              <a:latin typeface="Tiempos Headline Semibold" panose="02020703060303060403" pitchFamily="18" charset="77"/>
              <a:ea typeface="ＭＳ Ｐゴシック" charset="-128"/>
            </a:endParaRPr>
          </a:p>
        </p:txBody>
      </p:sp>
    </p:spTree>
    <p:extLst>
      <p:ext uri="{BB962C8B-B14F-4D97-AF65-F5344CB8AC3E}">
        <p14:creationId xmlns:p14="http://schemas.microsoft.com/office/powerpoint/2010/main" val="9198369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754482-D1A4-E2A9-79E2-D966293F9E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E4BDCF-D8DA-258C-D050-A65FFF3B612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A93CD03-55E8-CE88-FB25-4C58BB812AF9}"/>
              </a:ext>
            </a:extLst>
          </p:cNvPr>
          <p:cNvSpPr>
            <a:spLocks noGrp="1"/>
          </p:cNvSpPr>
          <p:nvPr>
            <p:ph type="body" idx="1"/>
          </p:nvPr>
        </p:nvSpPr>
        <p:spPr>
          <a:xfrm>
            <a:off x="677863" y="4773613"/>
            <a:ext cx="5426075" cy="3905250"/>
          </a:xfrm>
          <a:prstGeom prst="rect">
            <a:avLst/>
          </a:prstGeom>
        </p:spPr>
        <p:txBody>
          <a:bodyPr/>
          <a:lstStyle/>
          <a:p>
            <a:r>
              <a:rPr lang="en-US"/>
              <a:t>There are many benefits to this vision:</a:t>
            </a:r>
          </a:p>
          <a:p>
            <a:pPr marL="171450" indent="-171450">
              <a:buFontTx/>
              <a:buChar char="-"/>
            </a:pPr>
            <a:r>
              <a:rPr lang="en-US"/>
              <a:t>Faster execution time</a:t>
            </a:r>
          </a:p>
          <a:p>
            <a:pPr marL="171450" indent="-171450">
              <a:buFontTx/>
              <a:buChar char="-"/>
            </a:pPr>
            <a:r>
              <a:rPr lang="en-US"/>
              <a:t>Higher quality</a:t>
            </a:r>
          </a:p>
          <a:p>
            <a:pPr marL="171450" lvl="1" indent="-171450">
              <a:buFontTx/>
              <a:buChar char="-"/>
            </a:pPr>
            <a:r>
              <a:rPr lang="en-US"/>
              <a:t>Compliance with regulatory &amp; environmental bodies will increase</a:t>
            </a:r>
          </a:p>
          <a:p>
            <a:pPr marL="171450" indent="-171450">
              <a:buFontTx/>
              <a:buChar char="-"/>
            </a:pPr>
            <a:r>
              <a:rPr lang="en-US"/>
              <a:t>Cost savings</a:t>
            </a:r>
          </a:p>
          <a:p>
            <a:pPr marL="171450" indent="-171450">
              <a:buFontTx/>
              <a:buChar char="-"/>
            </a:pPr>
            <a:endParaRPr lang="en-US"/>
          </a:p>
          <a:p>
            <a:pPr marL="0" indent="0">
              <a:buFontTx/>
              <a:buNone/>
            </a:pPr>
            <a:r>
              <a:rPr lang="en-US"/>
              <a:t>Overall, greater operational efficiencies.</a:t>
            </a:r>
          </a:p>
          <a:p>
            <a:pPr marL="171450" indent="-171450">
              <a:buFontTx/>
              <a:buChar char="-"/>
            </a:pPr>
            <a:endParaRPr lang="en-US"/>
          </a:p>
        </p:txBody>
      </p:sp>
      <p:sp>
        <p:nvSpPr>
          <p:cNvPr id="4" name="Slide Number Placeholder 3">
            <a:extLst>
              <a:ext uri="{FF2B5EF4-FFF2-40B4-BE49-F238E27FC236}">
                <a16:creationId xmlns:a16="http://schemas.microsoft.com/office/drawing/2014/main" id="{685A5B1B-D66A-2D1B-5CD0-3AF145B5BF34}"/>
              </a:ext>
            </a:extLst>
          </p:cNvPr>
          <p:cNvSpPr>
            <a:spLocks noGrp="1"/>
          </p:cNvSpPr>
          <p:nvPr>
            <p:ph type="sldNum" sz="quarter" idx="5"/>
          </p:nvPr>
        </p:nvSpPr>
        <p:spPr/>
        <p:txBody>
          <a:bodyPr/>
          <a:lstStyle/>
          <a:p>
            <a:pPr marL="0" marR="0" lvl="0" indent="0" algn="r" defTabSz="939800" rtl="0" eaLnBrk="0" fontAlgn="base" latinLnBrk="0" hangingPunct="0">
              <a:lnSpc>
                <a:spcPct val="100000"/>
              </a:lnSpc>
              <a:spcBef>
                <a:spcPct val="0"/>
              </a:spcBef>
              <a:spcAft>
                <a:spcPct val="0"/>
              </a:spcAft>
              <a:buClrTx/>
              <a:buSzTx/>
              <a:buFontTx/>
              <a:buNone/>
              <a:tabLst/>
              <a:defRPr/>
            </a:pPr>
            <a:fld id="{91134B59-34DD-8847-8696-8421AE91BF75}" type="slidenum">
              <a:rPr kumimoji="0" lang="en-GB" sz="1300" b="1" u="none" strike="noStrike" kern="1200" cap="none" spc="0" normalizeH="0" baseline="0" noProof="0" smtClean="0">
                <a:ln>
                  <a:noFill/>
                </a:ln>
                <a:solidFill>
                  <a:srgbClr val="000000"/>
                </a:solidFill>
                <a:effectLst/>
                <a:uLnTx/>
                <a:uFillTx/>
                <a:latin typeface="Tiempos Headline Semibold" panose="02020703060303060403" pitchFamily="18" charset="77"/>
                <a:ea typeface="ＭＳ Ｐゴシック" charset="-128"/>
              </a:rPr>
              <a:pPr marL="0" marR="0" lvl="0" indent="0" algn="r" defTabSz="939800" rtl="0" eaLnBrk="0" fontAlgn="base" latinLnBrk="0" hangingPunct="0">
                <a:lnSpc>
                  <a:spcPct val="100000"/>
                </a:lnSpc>
                <a:spcBef>
                  <a:spcPct val="0"/>
                </a:spcBef>
                <a:spcAft>
                  <a:spcPct val="0"/>
                </a:spcAft>
                <a:buClrTx/>
                <a:buSzTx/>
                <a:buFontTx/>
                <a:buNone/>
                <a:tabLst/>
                <a:defRPr/>
              </a:pPr>
              <a:t>26</a:t>
            </a:fld>
            <a:endParaRPr kumimoji="0" lang="en-GB" sz="1300" b="1" u="none" strike="noStrike" kern="1200" cap="none" spc="0" normalizeH="0" baseline="0" noProof="0">
              <a:ln>
                <a:noFill/>
              </a:ln>
              <a:solidFill>
                <a:srgbClr val="000000"/>
              </a:solidFill>
              <a:effectLst/>
              <a:uLnTx/>
              <a:uFillTx/>
              <a:latin typeface="Tiempos Headline Semibold" panose="02020703060303060403" pitchFamily="18" charset="77"/>
              <a:ea typeface="ＭＳ Ｐゴシック" charset="-128"/>
            </a:endParaRPr>
          </a:p>
        </p:txBody>
      </p:sp>
    </p:spTree>
    <p:extLst>
      <p:ext uri="{BB962C8B-B14F-4D97-AF65-F5344CB8AC3E}">
        <p14:creationId xmlns:p14="http://schemas.microsoft.com/office/powerpoint/2010/main" val="41404870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944A08-2300-0302-9903-B3638B3CC0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A41EDC-7328-7E55-D35E-FE444CA2DEE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DE405A2-0DF3-DCAD-068C-4693B97D5AFE}"/>
              </a:ext>
            </a:extLst>
          </p:cNvPr>
          <p:cNvSpPr>
            <a:spLocks noGrp="1"/>
          </p:cNvSpPr>
          <p:nvPr>
            <p:ph type="body" idx="1"/>
          </p:nvPr>
        </p:nvSpPr>
        <p:spPr/>
        <p:txBody>
          <a:bodyPr/>
          <a:lstStyle/>
          <a:p>
            <a:r>
              <a:rPr lang="en-US"/>
              <a:t>That was a very brief preview of a number of AI related topics, but hopefully it’s helpful in getting you thinking about opportunities for your business.</a:t>
            </a:r>
          </a:p>
          <a:p>
            <a:endParaRPr lang="en-US"/>
          </a:p>
          <a:p>
            <a:r>
              <a:rPr lang="en-US"/>
              <a:t>A few final thoughts…</a:t>
            </a:r>
          </a:p>
        </p:txBody>
      </p:sp>
      <p:sp>
        <p:nvSpPr>
          <p:cNvPr id="4" name="Slide Number Placeholder 3">
            <a:extLst>
              <a:ext uri="{FF2B5EF4-FFF2-40B4-BE49-F238E27FC236}">
                <a16:creationId xmlns:a16="http://schemas.microsoft.com/office/drawing/2014/main" id="{BDDBCC35-A588-C5B5-1856-0F3CC4F96177}"/>
              </a:ext>
            </a:extLst>
          </p:cNvPr>
          <p:cNvSpPr>
            <a:spLocks noGrp="1"/>
          </p:cNvSpPr>
          <p:nvPr>
            <p:ph type="sldNum" sz="quarter" idx="5"/>
          </p:nvPr>
        </p:nvSpPr>
        <p:spPr/>
        <p:txBody>
          <a:bodyPr/>
          <a:lstStyle/>
          <a:p>
            <a:fld id="{9E1DC1B0-72E9-EC45-AEEA-E9E8BD96666B}" type="slidenum">
              <a:rPr lang="en-US" smtClean="0"/>
              <a:t>27</a:t>
            </a:fld>
            <a:endParaRPr lang="en-US"/>
          </a:p>
        </p:txBody>
      </p:sp>
    </p:spTree>
    <p:extLst>
      <p:ext uri="{BB962C8B-B14F-4D97-AF65-F5344CB8AC3E}">
        <p14:creationId xmlns:p14="http://schemas.microsoft.com/office/powerpoint/2010/main" val="32484934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2C9BB-F503-DE20-DD4B-BE2593351B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30E06E-3D10-E573-5C83-A819C16A82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CCB1DD-DED6-7D6E-A6F6-891592624DC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AI is a journey and will continue to improve at a fast pace</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Think about AI as a Collaborator and accelerator, not a replac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Starting with trials or </a:t>
            </a:r>
            <a:r>
              <a:rPr lang="en-CA" dirty="0" err="1"/>
              <a:t>PoCs</a:t>
            </a:r>
            <a:r>
              <a:rPr lang="en-CA" dirty="0"/>
              <a:t> is a good way to see what the tools can do, but don’t get to “pilot fatigue” (with no clear strategy of what you’re trying to accomplish)</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Focus on a current pain point or business problem</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Op Gains start with what’s possible with AI tod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dirty="0"/>
              <a:t>Using AI to solve business problems today will help with the connected ecosystem vis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Collaborate with your working teams to come up with ideas on where to start</a:t>
            </a:r>
          </a:p>
        </p:txBody>
      </p:sp>
      <p:sp>
        <p:nvSpPr>
          <p:cNvPr id="4" name="Slide Number Placeholder 3">
            <a:extLst>
              <a:ext uri="{FF2B5EF4-FFF2-40B4-BE49-F238E27FC236}">
                <a16:creationId xmlns:a16="http://schemas.microsoft.com/office/drawing/2014/main" id="{096E0C2D-28DB-208C-04D4-5FB908C24FE9}"/>
              </a:ext>
            </a:extLst>
          </p:cNvPr>
          <p:cNvSpPr>
            <a:spLocks noGrp="1"/>
          </p:cNvSpPr>
          <p:nvPr>
            <p:ph type="sldNum" sz="quarter" idx="5"/>
          </p:nvPr>
        </p:nvSpPr>
        <p:spPr/>
        <p:txBody>
          <a:bodyPr/>
          <a:lstStyle/>
          <a:p>
            <a:fld id="{9E1DC1B0-72E9-EC45-AEEA-E9E8BD96666B}" type="slidenum">
              <a:rPr lang="en-US" smtClean="0"/>
              <a:pPr/>
              <a:t>28</a:t>
            </a:fld>
            <a:endParaRPr lang="en-US"/>
          </a:p>
        </p:txBody>
      </p:sp>
    </p:spTree>
    <p:extLst>
      <p:ext uri="{BB962C8B-B14F-4D97-AF65-F5344CB8AC3E}">
        <p14:creationId xmlns:p14="http://schemas.microsoft.com/office/powerpoint/2010/main" val="35095524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1DC1B0-72E9-EC45-AEEA-E9E8BD96666B}" type="slidenum">
              <a:rPr lang="en-US" smtClean="0"/>
              <a:pPr/>
              <a:t>30</a:t>
            </a:fld>
            <a:endParaRPr lang="en-US"/>
          </a:p>
        </p:txBody>
      </p:sp>
    </p:spTree>
    <p:extLst>
      <p:ext uri="{BB962C8B-B14F-4D97-AF65-F5344CB8AC3E}">
        <p14:creationId xmlns:p14="http://schemas.microsoft.com/office/powerpoint/2010/main" val="1430229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58A59-A6B9-81D3-1731-616A398F9C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0F4F0D-13B6-532F-8982-35E77B1C62F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7D5EE81-46E9-33BB-78EE-8A9763292318}"/>
              </a:ext>
            </a:extLst>
          </p:cNvPr>
          <p:cNvSpPr>
            <a:spLocks noGrp="1"/>
          </p:cNvSpPr>
          <p:nvPr>
            <p:ph type="body" idx="1"/>
          </p:nvPr>
        </p:nvSpPr>
        <p:spPr/>
        <p:txBody>
          <a:bodyPr/>
          <a:lstStyle/>
          <a:p>
            <a:r>
              <a:rPr lang="en-US"/>
              <a:t>Esko does an annual poll to our customers and asks them which technology they believe will have the biggest impact for the year. Results are very similar to what we saw at the start of 2025:</a:t>
            </a:r>
          </a:p>
          <a:p>
            <a:pPr marL="171450" indent="-171450">
              <a:buFontTx/>
              <a:buChar char="-"/>
            </a:pPr>
            <a:r>
              <a:rPr lang="en-US"/>
              <a:t>Automation and AI are the 2 leaders, and I’ll talk about how these 2 are tied together shortly.</a:t>
            </a:r>
          </a:p>
          <a:p>
            <a:pPr marL="171450" indent="-171450">
              <a:buFontTx/>
              <a:buChar char="-"/>
            </a:pPr>
            <a:r>
              <a:rPr lang="en-US"/>
              <a:t>The third highest rating is with a connected ecosystem which I’ll also be talking about </a:t>
            </a:r>
          </a:p>
        </p:txBody>
      </p:sp>
      <p:sp>
        <p:nvSpPr>
          <p:cNvPr id="4" name="Slide Number Placeholder 3">
            <a:extLst>
              <a:ext uri="{FF2B5EF4-FFF2-40B4-BE49-F238E27FC236}">
                <a16:creationId xmlns:a16="http://schemas.microsoft.com/office/drawing/2014/main" id="{90A78F39-BC26-5D29-1867-B824E8206146}"/>
              </a:ext>
            </a:extLst>
          </p:cNvPr>
          <p:cNvSpPr>
            <a:spLocks noGrp="1"/>
          </p:cNvSpPr>
          <p:nvPr>
            <p:ph type="sldNum" sz="quarter" idx="5"/>
          </p:nvPr>
        </p:nvSpPr>
        <p:spPr/>
        <p:txBody>
          <a:bodyPr/>
          <a:lstStyle/>
          <a:p>
            <a:fld id="{9E1DC1B0-72E9-EC45-AEEA-E9E8BD96666B}" type="slidenum">
              <a:rPr lang="en-US" smtClean="0"/>
              <a:t>3</a:t>
            </a:fld>
            <a:endParaRPr lang="en-US"/>
          </a:p>
        </p:txBody>
      </p:sp>
    </p:spTree>
    <p:extLst>
      <p:ext uri="{BB962C8B-B14F-4D97-AF65-F5344CB8AC3E}">
        <p14:creationId xmlns:p14="http://schemas.microsoft.com/office/powerpoint/2010/main" val="3681212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we dive in, how many people are using ChatGPT or a similar tool for personal use today?</a:t>
            </a:r>
          </a:p>
          <a:p>
            <a:endParaRPr lang="en-US"/>
          </a:p>
          <a:p>
            <a:r>
              <a:rPr lang="en-US"/>
              <a:t>(use a personal example as a way to further engage people)</a:t>
            </a:r>
          </a:p>
        </p:txBody>
      </p:sp>
      <p:sp>
        <p:nvSpPr>
          <p:cNvPr id="4" name="Slide Number Placeholder 3"/>
          <p:cNvSpPr>
            <a:spLocks noGrp="1"/>
          </p:cNvSpPr>
          <p:nvPr>
            <p:ph type="sldNum" sz="quarter" idx="5"/>
          </p:nvPr>
        </p:nvSpPr>
        <p:spPr/>
        <p:txBody>
          <a:bodyPr/>
          <a:lstStyle/>
          <a:p>
            <a:fld id="{9E1DC1B0-72E9-EC45-AEEA-E9E8BD96666B}" type="slidenum">
              <a:rPr lang="en-US" smtClean="0"/>
              <a:pPr/>
              <a:t>4</a:t>
            </a:fld>
            <a:endParaRPr lang="en-US"/>
          </a:p>
        </p:txBody>
      </p:sp>
    </p:spTree>
    <p:extLst>
      <p:ext uri="{BB962C8B-B14F-4D97-AF65-F5344CB8AC3E}">
        <p14:creationId xmlns:p14="http://schemas.microsoft.com/office/powerpoint/2010/main" val="215494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how many are using it for Business use?</a:t>
            </a:r>
          </a:p>
        </p:txBody>
      </p:sp>
      <p:sp>
        <p:nvSpPr>
          <p:cNvPr id="4" name="Slide Number Placeholder 3"/>
          <p:cNvSpPr>
            <a:spLocks noGrp="1"/>
          </p:cNvSpPr>
          <p:nvPr>
            <p:ph type="sldNum" sz="quarter" idx="5"/>
          </p:nvPr>
        </p:nvSpPr>
        <p:spPr/>
        <p:txBody>
          <a:bodyPr/>
          <a:lstStyle/>
          <a:p>
            <a:fld id="{9E1DC1B0-72E9-EC45-AEEA-E9E8BD96666B}" type="slidenum">
              <a:rPr lang="en-US" smtClean="0"/>
              <a:pPr/>
              <a:t>5</a:t>
            </a:fld>
            <a:endParaRPr lang="en-US"/>
          </a:p>
        </p:txBody>
      </p:sp>
    </p:spTree>
    <p:extLst>
      <p:ext uri="{BB962C8B-B14F-4D97-AF65-F5344CB8AC3E}">
        <p14:creationId xmlns:p14="http://schemas.microsoft.com/office/powerpoint/2010/main" val="17399476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Personal Us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Widely used in just a couple of years. Incredible adoption. 66% of people use it on a regular basi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Many reasons why it has such a high adoption rate: main one is that it’s so easy to use &amp; it’s helpfu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Challenges: we’re still learning how to frame questions to get the answers we want, societal challenges with what AI tools are telling us (stories in media)</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Business Us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78% for at least 1 business funct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Also a high usage rate but challenges in how to integrate it with existing systems, how to measure success, and how to stay compliance</a:t>
            </a:r>
          </a:p>
        </p:txBody>
      </p:sp>
      <p:sp>
        <p:nvSpPr>
          <p:cNvPr id="4" name="Slide Number Placeholder 3"/>
          <p:cNvSpPr>
            <a:spLocks noGrp="1"/>
          </p:cNvSpPr>
          <p:nvPr>
            <p:ph type="sldNum" sz="quarter" idx="5"/>
          </p:nvPr>
        </p:nvSpPr>
        <p:spPr/>
        <p:txBody>
          <a:bodyPr/>
          <a:lstStyle/>
          <a:p>
            <a:fld id="{9E1DC1B0-72E9-EC45-AEEA-E9E8BD96666B}" type="slidenum">
              <a:rPr lang="en-US" smtClean="0"/>
              <a:pPr/>
              <a:t>6</a:t>
            </a:fld>
            <a:endParaRPr lang="en-US"/>
          </a:p>
        </p:txBody>
      </p:sp>
    </p:spTree>
    <p:extLst>
      <p:ext uri="{BB962C8B-B14F-4D97-AF65-F5344CB8AC3E}">
        <p14:creationId xmlns:p14="http://schemas.microsoft.com/office/powerpoint/2010/main" val="3912480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6144D-2947-59E7-58F9-E22931A5F5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A7E2F4-3F5C-7715-2A63-13C5BCF329F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F84864C-B7F0-2000-31BA-20A5417FB98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a:t>Businesses not yet seeing productivity gains, but still very optimistic about the future of AI. We’re seeing lots of trials, lots of small deployments, but not a lot of companies at the stage of deploying global solutions with AI that show solid productivity gains.</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For life sciences there is also the regulatory element of how AI can be used for </a:t>
            </a:r>
            <a:r>
              <a:rPr lang="en-CA" err="1"/>
              <a:t>GxP</a:t>
            </a:r>
            <a:r>
              <a:rPr lang="en-CA"/>
              <a:t> critical applications.</a:t>
            </a:r>
            <a:endParaRPr lang="en-BE"/>
          </a:p>
        </p:txBody>
      </p:sp>
      <p:sp>
        <p:nvSpPr>
          <p:cNvPr id="4" name="Slide Number Placeholder 3">
            <a:extLst>
              <a:ext uri="{FF2B5EF4-FFF2-40B4-BE49-F238E27FC236}">
                <a16:creationId xmlns:a16="http://schemas.microsoft.com/office/drawing/2014/main" id="{03F5F336-10F0-E2C9-F563-39AC0FF7D704}"/>
              </a:ext>
            </a:extLst>
          </p:cNvPr>
          <p:cNvSpPr>
            <a:spLocks noGrp="1"/>
          </p:cNvSpPr>
          <p:nvPr>
            <p:ph type="sldNum" sz="quarter" idx="5"/>
          </p:nvPr>
        </p:nvSpPr>
        <p:spPr/>
        <p:txBody>
          <a:bodyPr/>
          <a:lstStyle/>
          <a:p>
            <a:fld id="{9E1DC1B0-72E9-EC45-AEEA-E9E8BD96666B}" type="slidenum">
              <a:rPr lang="en-US" smtClean="0"/>
              <a:pPr/>
              <a:t>7</a:t>
            </a:fld>
            <a:endParaRPr lang="en-US"/>
          </a:p>
        </p:txBody>
      </p:sp>
    </p:spTree>
    <p:extLst>
      <p:ext uri="{BB962C8B-B14F-4D97-AF65-F5344CB8AC3E}">
        <p14:creationId xmlns:p14="http://schemas.microsoft.com/office/powerpoint/2010/main" val="11425224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CE3B3-ECD3-DA20-E16C-4C555D7826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BA7E5A-0E07-870E-1720-1DAC960463E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95299C2-E38F-BE38-10EA-96EAC7692F6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The other main barrier is quality, but it’s rapidly improv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The benchmarking is done by Standford University: 19% to 67% is an incredible improvement and it will continue to impro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uality also depends on the model being used. I.e. Subscriptions allow the AI to learning from individuals and businesses, making the responses better and better over time.</a:t>
            </a: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This quote is a good way to describe how quality is improving.</a:t>
            </a:r>
          </a:p>
        </p:txBody>
      </p:sp>
      <p:sp>
        <p:nvSpPr>
          <p:cNvPr id="4" name="Slide Number Placeholder 3">
            <a:extLst>
              <a:ext uri="{FF2B5EF4-FFF2-40B4-BE49-F238E27FC236}">
                <a16:creationId xmlns:a16="http://schemas.microsoft.com/office/drawing/2014/main" id="{CCE515F1-0A59-969B-FED8-30BA4202CFCF}"/>
              </a:ext>
            </a:extLst>
          </p:cNvPr>
          <p:cNvSpPr>
            <a:spLocks noGrp="1"/>
          </p:cNvSpPr>
          <p:nvPr>
            <p:ph type="sldNum" sz="quarter" idx="5"/>
          </p:nvPr>
        </p:nvSpPr>
        <p:spPr/>
        <p:txBody>
          <a:bodyPr/>
          <a:lstStyle/>
          <a:p>
            <a:fld id="{9E1DC1B0-72E9-EC45-AEEA-E9E8BD96666B}" type="slidenum">
              <a:rPr lang="en-US" smtClean="0"/>
              <a:pPr/>
              <a:t>8</a:t>
            </a:fld>
            <a:endParaRPr lang="en-US"/>
          </a:p>
        </p:txBody>
      </p:sp>
    </p:spTree>
    <p:extLst>
      <p:ext uri="{BB962C8B-B14F-4D97-AF65-F5344CB8AC3E}">
        <p14:creationId xmlns:p14="http://schemas.microsoft.com/office/powerpoint/2010/main" val="160797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9093A6-BC4F-428D-FCA8-2886CBB89C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68005F-2BCF-475F-2D98-2B25B16C545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CDB39B5-E5C5-7530-6D60-628629EC2B91}"/>
              </a:ext>
            </a:extLst>
          </p:cNvPr>
          <p:cNvSpPr>
            <a:spLocks noGrp="1"/>
          </p:cNvSpPr>
          <p:nvPr>
            <p:ph type="body" idx="1"/>
          </p:nvPr>
        </p:nvSpPr>
        <p:spPr/>
        <p:txBody>
          <a:bodyPr/>
          <a:lstStyle/>
          <a:p>
            <a:r>
              <a:rPr lang="en-US"/>
              <a:t>Let’s talk more specifically now about AI for artwork related processes</a:t>
            </a:r>
          </a:p>
        </p:txBody>
      </p:sp>
      <p:sp>
        <p:nvSpPr>
          <p:cNvPr id="4" name="Slide Number Placeholder 3">
            <a:extLst>
              <a:ext uri="{FF2B5EF4-FFF2-40B4-BE49-F238E27FC236}">
                <a16:creationId xmlns:a16="http://schemas.microsoft.com/office/drawing/2014/main" id="{C81269D9-B3C4-D47A-9FB5-3B6F4F8E5524}"/>
              </a:ext>
            </a:extLst>
          </p:cNvPr>
          <p:cNvSpPr>
            <a:spLocks noGrp="1"/>
          </p:cNvSpPr>
          <p:nvPr>
            <p:ph type="sldNum" sz="quarter" idx="5"/>
          </p:nvPr>
        </p:nvSpPr>
        <p:spPr/>
        <p:txBody>
          <a:bodyPr/>
          <a:lstStyle/>
          <a:p>
            <a:fld id="{9E1DC1B0-72E9-EC45-AEEA-E9E8BD96666B}" type="slidenum">
              <a:rPr lang="en-US" smtClean="0"/>
              <a:t>9</a:t>
            </a:fld>
            <a:endParaRPr lang="en-US"/>
          </a:p>
        </p:txBody>
      </p:sp>
    </p:spTree>
    <p:extLst>
      <p:ext uri="{BB962C8B-B14F-4D97-AF65-F5344CB8AC3E}">
        <p14:creationId xmlns:p14="http://schemas.microsoft.com/office/powerpoint/2010/main" val="3938459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6.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57.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0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58.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8.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58.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png"/><Relationship Id="rId1" Type="http://schemas.openxmlformats.org/officeDocument/2006/relationships/slideMaster" Target="../slideMasters/slideMaster5.xml"/><Relationship Id="rId4" Type="http://schemas.microsoft.com/office/2007/relationships/hdphoto" Target="../media/hdphoto9.wdp"/></Relationships>
</file>

<file path=ppt/slideLayouts/_rels/slideLayout111.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9.png"/><Relationship Id="rId1" Type="http://schemas.openxmlformats.org/officeDocument/2006/relationships/slideMaster" Target="../slideMasters/slideMaster5.xml"/><Relationship Id="rId6" Type="http://schemas.openxmlformats.org/officeDocument/2006/relationships/image" Target="../media/image6.png"/><Relationship Id="rId5" Type="http://schemas.microsoft.com/office/2007/relationships/hdphoto" Target="../media/hdphoto11.wdp"/><Relationship Id="rId4" Type="http://schemas.openxmlformats.org/officeDocument/2006/relationships/image" Target="../media/image60.png"/></Relationships>
</file>

<file path=ppt/slideLayouts/_rels/slideLayout11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0.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1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53.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1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1.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2.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57.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23.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61.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58.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png"/><Relationship Id="rId1" Type="http://schemas.openxmlformats.org/officeDocument/2006/relationships/slideMaster" Target="../slideMasters/slideMaster6.xml"/><Relationship Id="rId4" Type="http://schemas.microsoft.com/office/2007/relationships/hdphoto" Target="../media/hdphoto9.wdp"/></Relationships>
</file>

<file path=ppt/slideLayouts/_rels/slideLayout129.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62.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9.png"/><Relationship Id="rId1" Type="http://schemas.openxmlformats.org/officeDocument/2006/relationships/slideMaster" Target="../slideMasters/slideMaster6.xml"/><Relationship Id="rId6" Type="http://schemas.openxmlformats.org/officeDocument/2006/relationships/image" Target="../media/image6.png"/><Relationship Id="rId5" Type="http://schemas.microsoft.com/office/2007/relationships/hdphoto" Target="../media/hdphoto14.wdp"/><Relationship Id="rId4" Type="http://schemas.openxmlformats.org/officeDocument/2006/relationships/image" Target="../media/image63.png"/></Relationships>
</file>

<file path=ppt/slideLayouts/_rels/slideLayout1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9.png"/><Relationship Id="rId1" Type="http://schemas.openxmlformats.org/officeDocument/2006/relationships/slideMaster" Target="../slideMasters/slideMaster6.xml"/><Relationship Id="rId6" Type="http://schemas.openxmlformats.org/officeDocument/2006/relationships/image" Target="../media/image6.png"/><Relationship Id="rId5" Type="http://schemas.microsoft.com/office/2007/relationships/hdphoto" Target="../media/hdphoto15.wdp"/><Relationship Id="rId4" Type="http://schemas.openxmlformats.org/officeDocument/2006/relationships/image" Target="../media/image64.png"/></Relationships>
</file>

<file path=ppt/slideLayouts/_rels/slideLayout132.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59.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9.png"/><Relationship Id="rId1" Type="http://schemas.openxmlformats.org/officeDocument/2006/relationships/slideMaster" Target="../slideMasters/slideMaster6.xml"/><Relationship Id="rId6" Type="http://schemas.openxmlformats.org/officeDocument/2006/relationships/image" Target="../media/image6.png"/><Relationship Id="rId5" Type="http://schemas.microsoft.com/office/2007/relationships/hdphoto" Target="../media/hdphoto11.wdp"/><Relationship Id="rId4" Type="http://schemas.openxmlformats.org/officeDocument/2006/relationships/image" Target="../media/image60.png"/></Relationships>
</file>

<file path=ppt/slideLayouts/_rels/slideLayout13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0.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3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1.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2.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4.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42.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65.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57.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12.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1.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0.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25.svg"/><Relationship Id="rId4" Type="http://schemas.openxmlformats.org/officeDocument/2006/relationships/image" Target="../media/image2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27.sv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26.png"/><Relationship Id="rId5" Type="http://schemas.openxmlformats.org/officeDocument/2006/relationships/image" Target="../media/image33.svg"/><Relationship Id="rId4" Type="http://schemas.openxmlformats.org/officeDocument/2006/relationships/image" Target="../media/image32.png"/></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5" Type="http://schemas.openxmlformats.org/officeDocument/2006/relationships/image" Target="../media/image38.png"/><Relationship Id="rId4" Type="http://schemas.openxmlformats.org/officeDocument/2006/relationships/image" Target="../media/image3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5" Type="http://schemas.openxmlformats.org/officeDocument/2006/relationships/image" Target="../media/image38.png"/><Relationship Id="rId4" Type="http://schemas.openxmlformats.org/officeDocument/2006/relationships/image" Target="../media/image37.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5" Type="http://schemas.openxmlformats.org/officeDocument/2006/relationships/image" Target="../media/image38.png"/><Relationship Id="rId4" Type="http://schemas.openxmlformats.org/officeDocument/2006/relationships/image" Target="../media/image37.emf"/></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38.png"/><Relationship Id="rId4" Type="http://schemas.openxmlformats.org/officeDocument/2006/relationships/image" Target="../media/image4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1.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42.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21.emf"/></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4.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38.png"/><Relationship Id="rId5" Type="http://schemas.openxmlformats.org/officeDocument/2006/relationships/image" Target="../media/image35.png"/><Relationship Id="rId4" Type="http://schemas.openxmlformats.org/officeDocument/2006/relationships/image" Target="../media/image45.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39.png"/><Relationship Id="rId4" Type="http://schemas.openxmlformats.org/officeDocument/2006/relationships/image" Target="../media/image46.emf"/></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8.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9.png"/><Relationship Id="rId1" Type="http://schemas.openxmlformats.org/officeDocument/2006/relationships/slideMaster" Target="../slideMasters/slideMaster4.x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48.png"/></Relationships>
</file>

<file path=ppt/slideLayouts/_rels/slideLayout9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0.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1.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2.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53.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No-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1CC1B-2AD0-C254-53B1-9FEDCAB06D48}"/>
              </a:ext>
            </a:extLst>
          </p:cNvPr>
          <p:cNvSpPr>
            <a:spLocks/>
          </p:cNvSpPr>
          <p:nvPr userDrawn="1"/>
        </p:nvSpPr>
        <p:spPr>
          <a:xfrm>
            <a:off x="0" y="-1"/>
            <a:ext cx="12193524" cy="6172945"/>
          </a:xfrm>
          <a:prstGeom prst="rect">
            <a:avLst/>
          </a:prstGeom>
          <a:gradFill flip="none" rotWithShape="1">
            <a:gsLst>
              <a:gs pos="0">
                <a:schemeClr val="accent1"/>
              </a:gs>
              <a:gs pos="100000">
                <a:schemeClr val="accent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122363"/>
            <a:ext cx="5730240" cy="2387600"/>
          </a:xfrm>
          <a:prstGeom prst="rect">
            <a:avLst/>
          </a:prstGeom>
          <a:solidFill>
            <a:schemeClr val="accent1">
              <a:lumMod val="60000"/>
              <a:lumOff val="40000"/>
              <a:alpha val="25000"/>
            </a:schemeClr>
          </a:solidFill>
        </p:spPr>
        <p:txBody>
          <a:bodyPr anchor="b"/>
          <a:lstStyle>
            <a:lvl1pPr algn="l">
              <a:defRPr sz="60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509963"/>
            <a:ext cx="5730240" cy="874269"/>
          </a:xfrm>
          <a:prstGeom prst="rect">
            <a:avLst/>
          </a:prstGeom>
          <a:solidFill>
            <a:schemeClr val="accent1">
              <a:lumMod val="60000"/>
              <a:lumOff val="40000"/>
              <a:alpha val="25000"/>
            </a:schemeClr>
          </a:solidFill>
        </p:spPr>
        <p:txBody>
          <a:bodyPr>
            <a:normAutofit/>
          </a:bodyPr>
          <a:lstStyle>
            <a:lvl1pPr marL="0" indent="0" algn="l">
              <a:buNone/>
              <a:defRPr sz="20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3E45FBCE-8078-430D-15E1-31FE54D687B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841106" y="0"/>
            <a:ext cx="3350894" cy="2948787"/>
          </a:xfrm>
          <a:prstGeom prst="rect">
            <a:avLst/>
          </a:prstGeom>
        </p:spPr>
      </p:pic>
      <p:pic>
        <p:nvPicPr>
          <p:cNvPr id="5" name="Picture 4">
            <a:extLst>
              <a:ext uri="{FF2B5EF4-FFF2-40B4-BE49-F238E27FC236}">
                <a16:creationId xmlns:a16="http://schemas.microsoft.com/office/drawing/2014/main" id="{8AEDCF55-3811-D1CD-BD3F-EF0D7570809E}"/>
              </a:ext>
            </a:extLst>
          </p:cNvPr>
          <p:cNvPicPr>
            <a:picLocks noChangeAspect="1"/>
          </p:cNvPicPr>
          <p:nvPr userDrawn="1"/>
        </p:nvPicPr>
        <p:blipFill>
          <a:blip r:embed="rId3"/>
          <a:stretch>
            <a:fillRect/>
          </a:stretch>
        </p:blipFill>
        <p:spPr>
          <a:xfrm>
            <a:off x="11013888" y="247921"/>
            <a:ext cx="582846" cy="874269"/>
          </a:xfrm>
          <a:prstGeom prst="rect">
            <a:avLst/>
          </a:prstGeom>
        </p:spPr>
      </p:pic>
    </p:spTree>
    <p:extLst>
      <p:ext uri="{BB962C8B-B14F-4D97-AF65-F5344CB8AC3E}">
        <p14:creationId xmlns:p14="http://schemas.microsoft.com/office/powerpoint/2010/main" val="37326975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Header-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9842573" y="0"/>
            <a:ext cx="2349427" cy="6858000"/>
          </a:xfrm>
          <a:prstGeom prst="rect">
            <a:avLst/>
          </a:prstGeom>
          <a:solidFill>
            <a:srgbClr val="E5E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r>
              <a:rPr lang="en-GB"/>
              <a:t>Click to add picture or icon</a:t>
            </a:r>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2"/>
                </a:solidFill>
              </a:defRPr>
            </a:lvl1pPr>
          </a:lstStyle>
          <a:p>
            <a:pPr lvl="0"/>
            <a:r>
              <a:rPr lang="en-US"/>
              <a:t>Tagline</a:t>
            </a:r>
          </a:p>
        </p:txBody>
      </p:sp>
      <p:sp>
        <p:nvSpPr>
          <p:cNvPr id="5" name="Picture Placeholder 9">
            <a:extLst>
              <a:ext uri="{FF2B5EF4-FFF2-40B4-BE49-F238E27FC236}">
                <a16:creationId xmlns:a16="http://schemas.microsoft.com/office/drawing/2014/main" id="{04C5A8BA-D094-0CB5-EA9F-2ADA16528179}"/>
              </a:ext>
            </a:extLst>
          </p:cNvPr>
          <p:cNvSpPr>
            <a:spLocks noGrp="1"/>
          </p:cNvSpPr>
          <p:nvPr>
            <p:ph type="pic" sz="quarter" idx="13" hasCustomPrompt="1"/>
          </p:nvPr>
        </p:nvSpPr>
        <p:spPr>
          <a:xfrm>
            <a:off x="6409492" y="420393"/>
            <a:ext cx="5356397" cy="5355717"/>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Tree>
    <p:extLst>
      <p:ext uri="{BB962C8B-B14F-4D97-AF65-F5344CB8AC3E}">
        <p14:creationId xmlns:p14="http://schemas.microsoft.com/office/powerpoint/2010/main" val="26410437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ge Ligh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F13AC1-0540-2CBE-579B-FACE7E5BD765}"/>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a:latin typeface="TT Commons Pro" panose="020B0103030102020204" pitchFamily="34" charset="77"/>
            </a:endParaRPr>
          </a:p>
        </p:txBody>
      </p:sp>
      <p:pic>
        <p:nvPicPr>
          <p:cNvPr id="7" name="Picture Placeholder 4">
            <a:extLst>
              <a:ext uri="{FF2B5EF4-FFF2-40B4-BE49-F238E27FC236}">
                <a16:creationId xmlns:a16="http://schemas.microsoft.com/office/drawing/2014/main" id="{573ADE3E-D3F1-4013-6D61-D4A98FB87D03}"/>
              </a:ext>
            </a:extLst>
          </p:cNvPr>
          <p:cNvPicPr>
            <a:picLocks/>
          </p:cNvPicPr>
          <p:nvPr userDrawn="1"/>
        </p:nvPicPr>
        <p:blipFill>
          <a:blip r:embed="rId2">
            <a:alphaModFix amt="35000"/>
          </a:blip>
          <a:srcRect t="834" b="8644"/>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78FBA30C-58EE-D43A-E9BB-51073F4D1013}"/>
              </a:ext>
            </a:extLst>
          </p:cNvPr>
          <p:cNvSpPr/>
          <p:nvPr userDrawn="1"/>
        </p:nvSpPr>
        <p:spPr>
          <a:xfrm>
            <a:off x="0" y="0"/>
            <a:ext cx="9354031" cy="6858000"/>
          </a:xfrm>
          <a:prstGeom prst="rect">
            <a:avLst/>
          </a:prstGeom>
          <a:gradFill flip="none" rotWithShape="1">
            <a:gsLst>
              <a:gs pos="59000">
                <a:schemeClr val="bg1">
                  <a:alpha val="45980"/>
                </a:schemeClr>
              </a:gs>
              <a:gs pos="0">
                <a:scrgbClr r="0" g="0" b="0">
                  <a:alpha val="57251"/>
                </a:scrgbClr>
              </a:gs>
              <a:gs pos="100000">
                <a:schemeClr val="bg1">
                  <a:alpha val="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a:latin typeface="TT Commons Pro" panose="020B0103030102020204" pitchFamily="34" charset="77"/>
            </a:endParaRP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atin typeface="Tiempos Headline Semibold" panose="02020703060303060403" pitchFamily="18" charset="77"/>
              </a:defRPr>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27360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Risk Gague">
    <p:spTree>
      <p:nvGrpSpPr>
        <p:cNvPr id="1" name=""/>
        <p:cNvGrpSpPr/>
        <p:nvPr/>
      </p:nvGrpSpPr>
      <p:grpSpPr>
        <a:xfrm>
          <a:off x="0" y="0"/>
          <a:ext cx="0" cy="0"/>
          <a:chOff x="0" y="0"/>
          <a:chExt cx="0" cy="0"/>
        </a:xfrm>
      </p:grpSpPr>
      <p:pic>
        <p:nvPicPr>
          <p:cNvPr id="5" name="Picture 4" descr="A gauge with a red yellow and green dial&#10;&#10;AI-generated content may be incorrect.">
            <a:extLst>
              <a:ext uri="{FF2B5EF4-FFF2-40B4-BE49-F238E27FC236}">
                <a16:creationId xmlns:a16="http://schemas.microsoft.com/office/drawing/2014/main" id="{9770F471-BA34-EBE5-5416-49345FF82264}"/>
              </a:ext>
            </a:extLst>
          </p:cNvPr>
          <p:cNvPicPr>
            <a:picLocks noChangeAspect="1"/>
          </p:cNvPicPr>
          <p:nvPr userDrawn="1"/>
        </p:nvPicPr>
        <p:blipFill>
          <a:blip r:embed="rId2"/>
          <a:srcRect l="3030"/>
          <a:stretch>
            <a:fillRect/>
          </a:stretch>
        </p:blipFill>
        <p:spPr>
          <a:xfrm>
            <a:off x="-1" y="0"/>
            <a:ext cx="12192001" cy="6858000"/>
          </a:xfrm>
          <a:prstGeom prst="rect">
            <a:avLst/>
          </a:prstGeom>
        </p:spPr>
      </p:pic>
      <p:sp>
        <p:nvSpPr>
          <p:cNvPr id="7" name="Rectangle 6">
            <a:extLst>
              <a:ext uri="{FF2B5EF4-FFF2-40B4-BE49-F238E27FC236}">
                <a16:creationId xmlns:a16="http://schemas.microsoft.com/office/drawing/2014/main" id="{7F3B6A72-6A52-B535-E559-B6C6EAD3680F}"/>
              </a:ext>
            </a:extLst>
          </p:cNvPr>
          <p:cNvSpPr/>
          <p:nvPr userDrawn="1"/>
        </p:nvSpPr>
        <p:spPr>
          <a:xfrm>
            <a:off x="0" y="0"/>
            <a:ext cx="12192000" cy="6858000"/>
          </a:xfrm>
          <a:prstGeom prst="rect">
            <a:avLst/>
          </a:prstGeom>
          <a:gradFill flip="none" rotWithShape="1">
            <a:gsLst>
              <a:gs pos="100000">
                <a:schemeClr val="bg1">
                  <a:alpha val="76000"/>
                </a:schemeClr>
              </a:gs>
              <a:gs pos="20000">
                <a:scrgbClr r="0" g="0" b="0">
                  <a:alpha val="86905"/>
                </a:scrgbClr>
              </a:gs>
              <a:gs pos="99000">
                <a:schemeClr val="bg1">
                  <a:alpha val="74334"/>
                </a:schemeClr>
              </a:gs>
            </a:gsLst>
            <a:lin ang="1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a:latin typeface="TT Commons Pro" panose="020B0103030102020204" pitchFamily="34" charset="77"/>
            </a:endParaRP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atin typeface="Tiempos Headline Semibold" panose="02020703060303060403" pitchFamily="18" charset="77"/>
              </a:defRPr>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26817559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KAHO Basic Slide (green)">
    <p:spTree>
      <p:nvGrpSpPr>
        <p:cNvPr id="1" name=""/>
        <p:cNvGrpSpPr/>
        <p:nvPr/>
      </p:nvGrpSpPr>
      <p:grpSpPr>
        <a:xfrm>
          <a:off x="0" y="0"/>
          <a:ext cx="0" cy="0"/>
          <a:chOff x="0" y="0"/>
          <a:chExt cx="0" cy="0"/>
        </a:xfrm>
      </p:grpSpPr>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alphaModFix amt="78000"/>
            <a:extLst>
              <a:ext uri="{28A0092B-C50C-407E-A947-70E740481C1C}">
                <a14:useLocalDpi xmlns:a14="http://schemas.microsoft.com/office/drawing/2010/main"/>
              </a:ext>
            </a:extLst>
          </a:blip>
          <a:srcRect t="46312" r="-493"/>
          <a:stretch>
            <a:fillRect/>
          </a:stretch>
        </p:blipFill>
        <p:spPr>
          <a:xfrm>
            <a:off x="8816907" y="0"/>
            <a:ext cx="3375093" cy="1583144"/>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atin typeface="Tiempos Headline Semibold" panose="02020703060303060403" pitchFamily="18" charset="77"/>
              </a:defRPr>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49609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QUESTION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51000"/>
                    </a14:imgEffect>
                    <a14:imgEffect>
                      <a14:brightnessContrast bright="-23000" contrast="-26000"/>
                    </a14:imgEffect>
                  </a14:imgLayer>
                </a14:imgProps>
              </a:ext>
            </a:extLst>
          </a:blip>
          <a:srcRect t="7812" b="7812"/>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6F47807-432A-75C5-B992-A7369F014A6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39553340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LAB BEAKERS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27000"/>
                    </a14:imgEffect>
                    <a14:imgEffect>
                      <a14:colorTemperature colorTemp="4145"/>
                    </a14:imgEffect>
                    <a14:imgEffect>
                      <a14:brightnessContrast bright="-77000" contrast="-23000"/>
                    </a14:imgEffect>
                  </a14:imgLayer>
                </a14:imgProps>
              </a:ext>
            </a:extLst>
          </a:blip>
          <a:srcRect l="388" r="388"/>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35237829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1CC1B-2AD0-C254-53B1-9FEDCAB06D48}"/>
              </a:ext>
            </a:extLst>
          </p:cNvPr>
          <p:cNvSpPr>
            <a:spLocks/>
          </p:cNvSpPr>
          <p:nvPr userDrawn="1"/>
        </p:nvSpPr>
        <p:spPr>
          <a:xfrm>
            <a:off x="1" y="-1"/>
            <a:ext cx="12193524" cy="617294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Picture Placeholder 10">
            <a:extLst>
              <a:ext uri="{FF2B5EF4-FFF2-40B4-BE49-F238E27FC236}">
                <a16:creationId xmlns:a16="http://schemas.microsoft.com/office/drawing/2014/main" id="{EFC23991-F3B8-75F0-DD83-14444B2CB1A7}"/>
              </a:ext>
            </a:extLst>
          </p:cNvPr>
          <p:cNvSpPr>
            <a:spLocks noGrp="1"/>
          </p:cNvSpPr>
          <p:nvPr>
            <p:ph type="pic" sz="quarter" idx="10" hasCustomPrompt="1"/>
          </p:nvPr>
        </p:nvSpPr>
        <p:spPr>
          <a:xfrm>
            <a:off x="0" y="-1"/>
            <a:ext cx="12192000" cy="6172945"/>
          </a:xfrm>
          <a:prstGeom prst="rect">
            <a:avLst/>
          </a:prstGeom>
        </p:spPr>
        <p:txBody>
          <a:bodyPr>
            <a:normAutofit/>
          </a:bodyPr>
          <a:lstStyle>
            <a:lvl1pPr marL="0" indent="0">
              <a:buNone/>
              <a:defRPr sz="1800" b="0" i="0">
                <a:solidFill>
                  <a:schemeClr val="bg2"/>
                </a:solidFill>
              </a:defRPr>
            </a:lvl1pPr>
          </a:lstStyle>
          <a:p>
            <a:r>
              <a:rPr lang="en-US"/>
              <a:t>Click to add image</a:t>
            </a:r>
          </a:p>
        </p:txBody>
      </p:sp>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097280"/>
            <a:ext cx="9753600" cy="2438400"/>
          </a:xfrm>
          <a:prstGeom prst="rect">
            <a:avLst/>
          </a:prstGeom>
          <a:noFill/>
        </p:spPr>
        <p:txBody>
          <a:bodyPr anchor="b">
            <a:normAutofit/>
          </a:bodyPr>
          <a:lstStyle>
            <a:lvl1pPr algn="l">
              <a:defRPr sz="5333" b="1" i="0">
                <a:solidFill>
                  <a:schemeClr val="tx1"/>
                </a:solidFill>
                <a:effectLst>
                  <a:outerShdw blurRad="50800" dist="38100" dir="2700000" algn="tl" rotWithShape="0">
                    <a:prstClr val="black">
                      <a:alpha val="40000"/>
                    </a:prstClr>
                  </a:outerShdw>
                </a:effectLst>
                <a:latin typeface="Tiempos Headline Semibold" panose="02020703060303060403" pitchFamily="18" charset="77"/>
                <a:cs typeface="Times New Roman" panose="02020603050405020304" pitchFamily="18" charset="0"/>
              </a:defRPr>
            </a:lvl1pPr>
          </a:lstStyle>
          <a:p>
            <a:r>
              <a:rPr lang="en-US"/>
              <a:t>Click to add title</a:t>
            </a:r>
          </a:p>
        </p:txBody>
      </p:sp>
      <p:pic>
        <p:nvPicPr>
          <p:cNvPr id="5" name="Picture 4" descr="A logo with a green circle and a black background&#10;&#10;Description automatically generated">
            <a:extLst>
              <a:ext uri="{FF2B5EF4-FFF2-40B4-BE49-F238E27FC236}">
                <a16:creationId xmlns:a16="http://schemas.microsoft.com/office/drawing/2014/main" id="{30455BFA-9674-8B54-2FB2-1CBD1E8EFD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2562" y="6187167"/>
            <a:ext cx="1346511" cy="612051"/>
          </a:xfrm>
          <a:prstGeom prst="rect">
            <a:avLst/>
          </a:prstGeom>
        </p:spPr>
      </p:pic>
      <p:pic>
        <p:nvPicPr>
          <p:cNvPr id="4" name="Picture 3" descr="A swirl of lights in the sky&#10;&#10;AI-generated content may be incorrect.">
            <a:extLst>
              <a:ext uri="{FF2B5EF4-FFF2-40B4-BE49-F238E27FC236}">
                <a16:creationId xmlns:a16="http://schemas.microsoft.com/office/drawing/2014/main" id="{ED97D68F-BB28-AD34-F361-037754165C43}"/>
              </a:ext>
            </a:extLst>
          </p:cNvPr>
          <p:cNvPicPr>
            <a:picLocks noChangeAspect="1"/>
          </p:cNvPicPr>
          <p:nvPr userDrawn="1"/>
        </p:nvPicPr>
        <p:blipFill>
          <a:blip r:embed="rId3"/>
          <a:srcRect t="5593" b="18305"/>
          <a:stretch>
            <a:fillRect/>
          </a:stretch>
        </p:blipFill>
        <p:spPr>
          <a:xfrm>
            <a:off x="0" y="0"/>
            <a:ext cx="12192000" cy="6185547"/>
          </a:xfrm>
          <a:prstGeom prst="rect">
            <a:avLst/>
          </a:prstGeom>
        </p:spPr>
      </p:pic>
    </p:spTree>
    <p:extLst>
      <p:ext uri="{BB962C8B-B14F-4D97-AF65-F5344CB8AC3E}">
        <p14:creationId xmlns:p14="http://schemas.microsoft.com/office/powerpoint/2010/main" val="243687286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Gray">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81304C3-542D-C5EB-593E-65F3066DE2FE}"/>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rcRect/>
          <a:stretch/>
        </p:blipFill>
        <p:spPr>
          <a:xfrm>
            <a:off x="110386" y="1600201"/>
            <a:ext cx="3350895" cy="2948787"/>
          </a:xfrm>
          <a:prstGeom prst="rect">
            <a:avLst/>
          </a:prstGeom>
          <a:effectLst>
            <a:outerShdw blurRad="50800" dist="50800" dir="5400000" algn="ctr" rotWithShape="0">
              <a:srgbClr val="000000">
                <a:alpha val="30000"/>
              </a:srgbClr>
            </a:outerShdw>
          </a:effectLst>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097280"/>
            <a:ext cx="9753600" cy="2438400"/>
          </a:xfrm>
          <a:prstGeom prst="rect">
            <a:avLst/>
          </a:prstGeom>
        </p:spPr>
        <p:txBody>
          <a:bodyPr anchor="b">
            <a:normAutofit/>
          </a:bodyPr>
          <a:lstStyle>
            <a:lvl1pPr algn="l">
              <a:defRPr sz="7200" b="1" i="0">
                <a:solidFill>
                  <a:schemeClr val="tx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535680"/>
            <a:ext cx="9753600" cy="1655763"/>
          </a:xfrm>
          <a:prstGeom prst="rect">
            <a:avLst/>
          </a:prstGeom>
        </p:spPr>
        <p:txBody>
          <a:bodyPr>
            <a:normAutofit/>
          </a:bodyPr>
          <a:lstStyle>
            <a:lvl1pPr marL="0" indent="0" algn="l">
              <a:buNone/>
              <a:defRPr sz="1800" b="0" i="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582267B7-342F-E79F-C819-12984D2C5CE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
        <p:nvSpPr>
          <p:cNvPr id="4" name="TextBox 3">
            <a:extLst>
              <a:ext uri="{FF2B5EF4-FFF2-40B4-BE49-F238E27FC236}">
                <a16:creationId xmlns:a16="http://schemas.microsoft.com/office/drawing/2014/main" id="{53BE30E5-83DB-27B0-9A6D-AA7290A1EFCD}"/>
              </a:ext>
            </a:extLst>
          </p:cNvPr>
          <p:cNvSpPr txBox="1"/>
          <p:nvPr userDrawn="1">
            <p:extLst>
              <p:ext uri="{1162E1C5-73C7-4A58-AE30-91384D911F3F}">
                <p184:classification xmlns:p184="http://schemas.microsoft.com/office/powerpoint/2018/4/main" val="ftr"/>
              </p:ext>
            </p:extLst>
          </p:nvPr>
        </p:nvSpPr>
        <p:spPr>
          <a:xfrm>
            <a:off x="5185538" y="6642101"/>
            <a:ext cx="1849439" cy="153888"/>
          </a:xfrm>
          <a:prstGeom prst="rect">
            <a:avLst/>
          </a:prstGeom>
        </p:spPr>
        <p:txBody>
          <a:bodyPr horzOverflow="overflow" lIns="0" tIns="0" rIns="0" bIns="0">
            <a:spAutoFit/>
          </a:bodyPr>
          <a:lstStyle/>
          <a:p>
            <a:pPr algn="l"/>
            <a:r>
              <a:rPr lang="en-US" sz="1000">
                <a:solidFill>
                  <a:srgbClr val="D89B2B"/>
                </a:solidFill>
                <a:latin typeface="Default"/>
              </a:rPr>
              <a:t>Confidential - Company Proprietary</a:t>
            </a:r>
          </a:p>
        </p:txBody>
      </p:sp>
    </p:spTree>
    <p:extLst>
      <p:ext uri="{BB962C8B-B14F-4D97-AF65-F5344CB8AC3E}">
        <p14:creationId xmlns:p14="http://schemas.microsoft.com/office/powerpoint/2010/main" val="12390236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RJA Basic Slide">
    <p:spTree>
      <p:nvGrpSpPr>
        <p:cNvPr id="1" name=""/>
        <p:cNvGrpSpPr/>
        <p:nvPr/>
      </p:nvGrpSpPr>
      <p:grpSpPr>
        <a:xfrm>
          <a:off x="0" y="0"/>
          <a:ext cx="0" cy="0"/>
          <a:chOff x="0" y="0"/>
          <a:chExt cx="0" cy="0"/>
        </a:xfrm>
      </p:grpSpPr>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alphaModFix amt="78000"/>
            <a:extLst>
              <a:ext uri="{28A0092B-C50C-407E-A947-70E740481C1C}">
                <a14:useLocalDpi xmlns:a14="http://schemas.microsoft.com/office/drawing/2010/main"/>
              </a:ext>
            </a:extLst>
          </a:blip>
          <a:srcRect t="46312" r="-493"/>
          <a:stretch>
            <a:fillRect/>
          </a:stretch>
        </p:blipFill>
        <p:spPr>
          <a:xfrm>
            <a:off x="8816907" y="0"/>
            <a:ext cx="3375093" cy="1583144"/>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253287" cy="845328"/>
          </a:xfrm>
          <a:prstGeom prst="rect">
            <a:avLst/>
          </a:prstGeom>
        </p:spPr>
        <p:txBody>
          <a:bodyPr anchor="t"/>
          <a:lstStyle>
            <a:lvl1pPr>
              <a:defRPr b="1" i="0"/>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1583145"/>
            <a:ext cx="11253288" cy="4283169"/>
          </a:xfrm>
          <a:prstGeom prst="rect">
            <a:avLst/>
          </a:prstGeom>
        </p:spPr>
        <p:txBody>
          <a:bodyPr>
            <a:normAutofit/>
          </a:bodyPr>
          <a:lstStyle>
            <a:lvl1pPr marL="228594" indent="-228594">
              <a:buClr>
                <a:srgbClr val="6584F3"/>
              </a:buClr>
              <a:buSzPct val="100000"/>
              <a:buFont typeface="Wingdings" pitchFamily="2" charset="2"/>
              <a:buChar char="§"/>
              <a:defRPr sz="2133" b="0" i="0"/>
            </a:lvl1pPr>
            <a:lvl2pPr marL="685783" indent="-228594">
              <a:buClr>
                <a:srgbClr val="6584F3"/>
              </a:buClr>
              <a:buFont typeface="Wingdings" pitchFamily="2" charset="2"/>
              <a:buChar char="§"/>
              <a:defRPr sz="1867" b="0" i="0"/>
            </a:lvl2pPr>
            <a:lvl3pPr marL="1142971" indent="-228594">
              <a:buClr>
                <a:srgbClr val="6584F3"/>
              </a:buClr>
              <a:buFont typeface="Wingdings" pitchFamily="2" charset="2"/>
              <a:buChar char="§"/>
              <a:defRPr sz="1600" b="0" i="0"/>
            </a:lvl3pPr>
            <a:lvl4pPr marL="1600160" indent="-228594">
              <a:buClr>
                <a:srgbClr val="6584F3"/>
              </a:buClr>
              <a:buFont typeface="Wingdings" pitchFamily="2" charset="2"/>
              <a:buChar char="§"/>
              <a:defRPr sz="1600" b="0" i="0"/>
            </a:lvl4pPr>
            <a:lvl5pPr marL="2057349" indent="-228594">
              <a:buClr>
                <a:srgbClr val="6584F3"/>
              </a:buClr>
              <a:buFont typeface="Wingdings" pitchFamily="2" charset="2"/>
              <a:buChar char="§"/>
              <a:defRPr sz="1467"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79762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ud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73000"/>
                    </a14:imgEffect>
                  </a14:imgLayer>
                </a14:imgProps>
              </a:ext>
            </a:extLst>
          </a:blip>
          <a:srcRect t="21875" b="21875"/>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296144306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AB BEAKERS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27000"/>
                    </a14:imgEffect>
                    <a14:imgEffect>
                      <a14:colorTemperature colorTemp="4145"/>
                    </a14:imgEffect>
                    <a14:imgEffect>
                      <a14:brightnessContrast bright="-77000" contrast="-23000"/>
                    </a14:imgEffect>
                  </a14:imgLayer>
                </a14:imgProps>
              </a:ext>
            </a:extLst>
          </a:blip>
          <a:srcRect l="388" r="388"/>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794762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ection-2-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7091916" y="399128"/>
            <a:ext cx="4713059" cy="5672063"/>
          </a:xfrm>
          <a:prstGeom prst="rect">
            <a:avLst/>
          </a:prstGeom>
          <a:solidFill>
            <a:srgbClr val="FAEA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pPr marL="7938" marR="0" lvl="0" indent="0" algn="l" defTabSz="914400" rtl="0" eaLnBrk="1" fontAlgn="auto" latinLnBrk="0" hangingPunct="1">
              <a:lnSpc>
                <a:spcPct val="90000"/>
              </a:lnSpc>
              <a:spcBef>
                <a:spcPts val="1000"/>
              </a:spcBef>
              <a:spcAft>
                <a:spcPts val="0"/>
              </a:spcAft>
              <a:buClrTx/>
              <a:buSzTx/>
              <a:buFontTx/>
              <a:buNone/>
              <a:tabLst/>
              <a:defRPr/>
            </a:pPr>
            <a:r>
              <a:rPr lang="en-GB"/>
              <a:t>Click to add picture or icon</a:t>
            </a:r>
          </a:p>
          <a:p>
            <a:endParaRPr lang="en-GB"/>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3"/>
                </a:solidFill>
              </a:defRPr>
            </a:lvl1pPr>
          </a:lstStyle>
          <a:p>
            <a:pPr lvl="0"/>
            <a:r>
              <a:rPr lang="en-US"/>
              <a:t>Tagline</a:t>
            </a:r>
          </a:p>
        </p:txBody>
      </p:sp>
      <p:sp>
        <p:nvSpPr>
          <p:cNvPr id="4" name="Picture Placeholder 9">
            <a:extLst>
              <a:ext uri="{FF2B5EF4-FFF2-40B4-BE49-F238E27FC236}">
                <a16:creationId xmlns:a16="http://schemas.microsoft.com/office/drawing/2014/main" id="{ADDC55DA-97F2-63EE-02EF-D4C44F0A819A}"/>
              </a:ext>
            </a:extLst>
          </p:cNvPr>
          <p:cNvSpPr>
            <a:spLocks noGrp="1"/>
          </p:cNvSpPr>
          <p:nvPr>
            <p:ph type="pic" sz="quarter" idx="13" hasCustomPrompt="1"/>
          </p:nvPr>
        </p:nvSpPr>
        <p:spPr>
          <a:xfrm>
            <a:off x="7603197" y="619303"/>
            <a:ext cx="3685708" cy="3605855"/>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
        <p:nvSpPr>
          <p:cNvPr id="8" name="Text Placeholder 7">
            <a:extLst>
              <a:ext uri="{FF2B5EF4-FFF2-40B4-BE49-F238E27FC236}">
                <a16:creationId xmlns:a16="http://schemas.microsoft.com/office/drawing/2014/main" id="{71519CB2-2A03-C1CE-6275-71B0D80F7AF3}"/>
              </a:ext>
            </a:extLst>
          </p:cNvPr>
          <p:cNvSpPr>
            <a:spLocks noGrp="1"/>
          </p:cNvSpPr>
          <p:nvPr>
            <p:ph type="body" sz="quarter" idx="19" hasCustomPrompt="1"/>
          </p:nvPr>
        </p:nvSpPr>
        <p:spPr>
          <a:xfrm>
            <a:off x="7315200" y="4447436"/>
            <a:ext cx="4284663"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9" name="Text Placeholder 7">
            <a:extLst>
              <a:ext uri="{FF2B5EF4-FFF2-40B4-BE49-F238E27FC236}">
                <a16:creationId xmlns:a16="http://schemas.microsoft.com/office/drawing/2014/main" id="{E85E9040-158F-7303-9FB7-A581ED183A55}"/>
              </a:ext>
            </a:extLst>
          </p:cNvPr>
          <p:cNvSpPr>
            <a:spLocks noGrp="1"/>
          </p:cNvSpPr>
          <p:nvPr>
            <p:ph type="body" sz="quarter" idx="20" hasCustomPrompt="1"/>
          </p:nvPr>
        </p:nvSpPr>
        <p:spPr>
          <a:xfrm>
            <a:off x="7315200" y="5236576"/>
            <a:ext cx="4284663" cy="700088"/>
          </a:xfrm>
        </p:spPr>
        <p:txBody>
          <a:bodyPr anchor="t">
            <a:normAutofit/>
          </a:bodyPr>
          <a:lstStyle>
            <a:lvl1pPr marL="0" indent="0">
              <a:buNone/>
              <a:defRPr sz="1600" b="0" i="0">
                <a:latin typeface="TT Commons Pro Light" panose="020B0103030102020204" pitchFamily="34" charset="77"/>
                <a:cs typeface="Arial" panose="020B0604020202020204" pitchFamily="34" charset="0"/>
              </a:defRPr>
            </a:lvl1pPr>
          </a:lstStyle>
          <a:p>
            <a:pPr lvl="0"/>
            <a:r>
              <a:rPr lang="en-US"/>
              <a:t>Click to add text</a:t>
            </a:r>
          </a:p>
        </p:txBody>
      </p:sp>
      <p:pic>
        <p:nvPicPr>
          <p:cNvPr id="16" name="Picture 15" descr="A purple arrow pointing to a black background&#10;&#10;Description automatically generated">
            <a:extLst>
              <a:ext uri="{FF2B5EF4-FFF2-40B4-BE49-F238E27FC236}">
                <a16:creationId xmlns:a16="http://schemas.microsoft.com/office/drawing/2014/main" id="{330BE6F5-E2B5-CFC1-61D5-DFA2DA61E2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368" y="306203"/>
            <a:ext cx="586110" cy="586110"/>
          </a:xfrm>
          <a:prstGeom prst="rect">
            <a:avLst/>
          </a:prstGeom>
        </p:spPr>
      </p:pic>
    </p:spTree>
    <p:extLst>
      <p:ext uri="{BB962C8B-B14F-4D97-AF65-F5344CB8AC3E}">
        <p14:creationId xmlns:p14="http://schemas.microsoft.com/office/powerpoint/2010/main" val="86328543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LAB BEAKERS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81DAB34-216D-032A-E133-7692D2C3DC6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pic>
        <p:nvPicPr>
          <p:cNvPr id="6" name="Picture 5">
            <a:extLst>
              <a:ext uri="{FF2B5EF4-FFF2-40B4-BE49-F238E27FC236}">
                <a16:creationId xmlns:a16="http://schemas.microsoft.com/office/drawing/2014/main" id="{C1A43382-AE7B-380B-3E74-08BB689AB3CF}"/>
              </a:ext>
            </a:extLst>
          </p:cNvPr>
          <p:cNvPicPr>
            <a:picLocks noChangeAspect="1"/>
          </p:cNvPicPr>
          <p:nvPr userDrawn="1"/>
        </p:nvPicPr>
        <p:blipFill>
          <a:blip r:embed="rId3">
            <a:extLst>
              <a:ext uri="{BEBA8EAE-BF5A-486C-A8C5-ECC9F3942E4B}">
                <a14:imgProps xmlns:a14="http://schemas.microsoft.com/office/drawing/2010/main">
                  <a14:imgLayer r:embed="rId4">
                    <a14:imgEffect>
                      <a14:sharpenSoften amount="-27000"/>
                    </a14:imgEffect>
                    <a14:imgEffect>
                      <a14:colorTemperature colorTemp="4145"/>
                    </a14:imgEffect>
                    <a14:imgEffect>
                      <a14:brightnessContrast bright="-77000" contrast="-23000"/>
                    </a14:imgEffect>
                  </a14:imgLayer>
                </a14:imgProps>
              </a:ext>
            </a:extLst>
          </a:blip>
          <a:srcRect l="388" r="388"/>
          <a:stretch/>
        </p:blipFill>
        <p:spPr>
          <a:xfrm>
            <a:off x="0" y="0"/>
            <a:ext cx="12192000" cy="6858000"/>
          </a:xfrm>
          <a:prstGeom prst="rect">
            <a:avLst/>
          </a:prstGeom>
        </p:spPr>
      </p:pic>
    </p:spTree>
    <p:extLst>
      <p:ext uri="{BB962C8B-B14F-4D97-AF65-F5344CB8AC3E}">
        <p14:creationId xmlns:p14="http://schemas.microsoft.com/office/powerpoint/2010/main" val="38524134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Cloud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45000"/>
                    </a14:imgEffect>
                  </a14:imgLayer>
                </a14:imgProps>
              </a:ext>
            </a:extLst>
          </a:blip>
          <a:srcRect l="388" r="388"/>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089624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3_SPACE CLOUD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31D4BE-1026-3ACA-7C34-77C7B5BFF3E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68000"/>
                    </a14:imgEffect>
                  </a14:imgLayer>
                </a14:imgProps>
              </a:ext>
            </a:extLst>
          </a:blip>
          <a:srcRect b="1563"/>
          <a:stretch/>
        </p:blipFill>
        <p:spPr>
          <a:xfrm>
            <a:off x="0" y="-1"/>
            <a:ext cx="12192000" cy="6858001"/>
          </a:xfrm>
          <a:prstGeom prst="rect">
            <a:avLst/>
          </a:prstGeom>
        </p:spPr>
      </p:pic>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4">
            <a:extLst>
              <a:ext uri="{BEBA8EAE-BF5A-486C-A8C5-ECC9F3942E4B}">
                <a14:imgProps xmlns:a14="http://schemas.microsoft.com/office/drawing/2010/main">
                  <a14:imgLayer r:embed="rId5">
                    <a14:imgEffect>
                      <a14:sharpenSoften amount="-13000"/>
                    </a14:imgEffect>
                    <a14:imgEffect>
                      <a14:brightnessContrast bright="-26000"/>
                    </a14:imgEffect>
                  </a14:imgLayer>
                </a14:imgProps>
              </a:ext>
            </a:extLst>
          </a:blip>
          <a:srcRect l="388" r="388"/>
          <a:stretch/>
        </p:blipFill>
        <p:spPr>
          <a:xfrm>
            <a:off x="0" y="0"/>
            <a:ext cx="12192000" cy="6858000"/>
          </a:xfrm>
          <a:prstGeom prst="rect">
            <a:avLst/>
          </a:prstGeom>
        </p:spPr>
      </p:pic>
      <p:pic>
        <p:nvPicPr>
          <p:cNvPr id="4" name="Picture 3">
            <a:extLst>
              <a:ext uri="{FF2B5EF4-FFF2-40B4-BE49-F238E27FC236}">
                <a16:creationId xmlns:a16="http://schemas.microsoft.com/office/drawing/2014/main" id="{D81DAB34-216D-032A-E133-7692D2C3DC69}"/>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307905021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nterconnectivit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31000"/>
                    </a14:imgEffect>
                  </a14:imgLayer>
                </a14:imgProps>
              </a:ext>
            </a:extLst>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328505651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INTERCONNECT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1000"/>
                    </a14:imgEffect>
                    <a14:imgEffect>
                      <a14:brightnessContrast bright="-27000"/>
                    </a14:imgEffect>
                  </a14:imgLayer>
                </a14:imgProps>
              </a:ext>
            </a:extLst>
          </a:blip>
          <a:srcRect t="7812" b="7812"/>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6F47807-432A-75C5-B992-A7369F014A6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79985938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UE HAZE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31000"/>
                    </a14:imgEffect>
                  </a14:imgLayer>
                </a14:imgProps>
              </a:ext>
            </a:extLst>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337353343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UE HAZ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1000"/>
                    </a14:imgEffect>
                    <a14:imgEffect>
                      <a14:brightnessContrast bright="-27000"/>
                    </a14:imgEffect>
                  </a14:imgLayer>
                </a14:imgProps>
              </a:ext>
            </a:extLst>
          </a:blip>
          <a:srcRect t="7812" b="7812"/>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6F47807-432A-75C5-B992-A7369F014A6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9606870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2ED6BC7-9090-E45F-7EDB-875BFCD9EBAB}"/>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latin typeface="TT Commons" panose="02000506040000020004" pitchFamily="2" charset="77"/>
            </a:endParaRPr>
          </a:p>
        </p:txBody>
      </p:sp>
      <p:pic>
        <p:nvPicPr>
          <p:cNvPr id="8" name="Picture 7" descr="A hand on a dice&#10;&#10;Description automatically generated">
            <a:extLst>
              <a:ext uri="{FF2B5EF4-FFF2-40B4-BE49-F238E27FC236}">
                <a16:creationId xmlns:a16="http://schemas.microsoft.com/office/drawing/2014/main" id="{7E621CE2-82D6-2FCA-B572-B441948B00E4}"/>
              </a:ext>
            </a:extLst>
          </p:cNvPr>
          <p:cNvPicPr>
            <a:picLocks/>
          </p:cNvPicPr>
          <p:nvPr userDrawn="1"/>
        </p:nvPicPr>
        <p:blipFill>
          <a:blip r:embed="rId2">
            <a:alphaModFix amt="20000"/>
          </a:blip>
          <a:srcRect l="5075" r="5075" b="5904"/>
          <a:stretch>
            <a:fillRect/>
          </a:stretch>
        </p:blipFill>
        <p:spPr>
          <a:xfrm>
            <a:off x="-2" y="-1"/>
            <a:ext cx="12192001" cy="6858001"/>
          </a:xfrm>
          <a:prstGeom prst="rect">
            <a:avLst/>
          </a:prstGeom>
          <a:effectLst>
            <a:reflection blurRad="6350" stA="50000" endA="300" endPos="55500" dir="5400000" sy="-100000" algn="bl" rotWithShape="0"/>
          </a:effectLst>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309103315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tage Ligh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F13AC1-0540-2CBE-579B-FACE7E5BD765}"/>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latin typeface="TT Commons" panose="02000506040000020004" pitchFamily="2" charset="77"/>
            </a:endParaRPr>
          </a:p>
        </p:txBody>
      </p:sp>
      <p:pic>
        <p:nvPicPr>
          <p:cNvPr id="7" name="Picture Placeholder 4">
            <a:extLst>
              <a:ext uri="{FF2B5EF4-FFF2-40B4-BE49-F238E27FC236}">
                <a16:creationId xmlns:a16="http://schemas.microsoft.com/office/drawing/2014/main" id="{573ADE3E-D3F1-4013-6D61-D4A98FB87D03}"/>
              </a:ext>
            </a:extLst>
          </p:cNvPr>
          <p:cNvPicPr>
            <a:picLocks/>
          </p:cNvPicPr>
          <p:nvPr userDrawn="1"/>
        </p:nvPicPr>
        <p:blipFill>
          <a:blip r:embed="rId2">
            <a:alphaModFix amt="35000"/>
          </a:blip>
          <a:srcRect t="834" b="8644"/>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78FBA30C-58EE-D43A-E9BB-51073F4D1013}"/>
              </a:ext>
            </a:extLst>
          </p:cNvPr>
          <p:cNvSpPr/>
          <p:nvPr userDrawn="1"/>
        </p:nvSpPr>
        <p:spPr>
          <a:xfrm>
            <a:off x="0" y="0"/>
            <a:ext cx="9354031" cy="6858000"/>
          </a:xfrm>
          <a:prstGeom prst="rect">
            <a:avLst/>
          </a:prstGeom>
          <a:gradFill flip="none" rotWithShape="1">
            <a:gsLst>
              <a:gs pos="59000">
                <a:schemeClr val="bg1">
                  <a:alpha val="45980"/>
                </a:schemeClr>
              </a:gs>
              <a:gs pos="0">
                <a:scrgbClr r="0" g="0" b="0">
                  <a:alpha val="57251"/>
                </a:scrgbClr>
              </a:gs>
              <a:gs pos="100000">
                <a:schemeClr val="bg1">
                  <a:alpha val="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latin typeface="TT Commons" panose="02000506040000020004" pitchFamily="2" charset="77"/>
            </a:endParaRP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0739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tage Ligh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F13AC1-0540-2CBE-579B-FACE7E5BD765}"/>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latin typeface="TT Commons" panose="02000506040000020004" pitchFamily="2" charset="77"/>
            </a:endParaRPr>
          </a:p>
        </p:txBody>
      </p:sp>
      <p:pic>
        <p:nvPicPr>
          <p:cNvPr id="7" name="Picture Placeholder 4">
            <a:extLst>
              <a:ext uri="{FF2B5EF4-FFF2-40B4-BE49-F238E27FC236}">
                <a16:creationId xmlns:a16="http://schemas.microsoft.com/office/drawing/2014/main" id="{573ADE3E-D3F1-4013-6D61-D4A98FB87D03}"/>
              </a:ext>
            </a:extLst>
          </p:cNvPr>
          <p:cNvPicPr>
            <a:picLocks/>
          </p:cNvPicPr>
          <p:nvPr userDrawn="1"/>
        </p:nvPicPr>
        <p:blipFill>
          <a:blip r:embed="rId2">
            <a:alphaModFix amt="35000"/>
          </a:blip>
          <a:srcRect t="834" b="8644"/>
          <a:stretch>
            <a:fillRect/>
          </a:stretch>
        </p:blipFill>
        <p:spPr>
          <a:xfrm>
            <a:off x="0" y="0"/>
            <a:ext cx="12192000" cy="6858000"/>
          </a:xfrm>
          <a:prstGeom prst="rect">
            <a:avLst/>
          </a:prstGeom>
        </p:spPr>
      </p:pic>
    </p:spTree>
    <p:extLst>
      <p:ext uri="{BB962C8B-B14F-4D97-AF65-F5344CB8AC3E}">
        <p14:creationId xmlns:p14="http://schemas.microsoft.com/office/powerpoint/2010/main" val="17943370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2-Oran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7091916" y="399128"/>
            <a:ext cx="4713059" cy="5672063"/>
          </a:xfrm>
          <a:prstGeom prst="rect">
            <a:avLst/>
          </a:prstGeom>
          <a:solidFill>
            <a:srgbClr val="FFE5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pPr marL="7938" marR="0" lvl="0" indent="0" algn="l" defTabSz="914400" rtl="0" eaLnBrk="1" fontAlgn="auto" latinLnBrk="0" hangingPunct="1">
              <a:lnSpc>
                <a:spcPct val="90000"/>
              </a:lnSpc>
              <a:spcBef>
                <a:spcPts val="1000"/>
              </a:spcBef>
              <a:spcAft>
                <a:spcPts val="0"/>
              </a:spcAft>
              <a:buClrTx/>
              <a:buSzTx/>
              <a:buFontTx/>
              <a:buNone/>
              <a:tabLst/>
              <a:defRPr/>
            </a:pPr>
            <a:r>
              <a:rPr lang="en-GB"/>
              <a:t>Click to add picture or icon</a:t>
            </a:r>
          </a:p>
          <a:p>
            <a:endParaRPr lang="en-GB"/>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5"/>
                </a:solidFill>
              </a:defRPr>
            </a:lvl1pPr>
          </a:lstStyle>
          <a:p>
            <a:pPr lvl="0"/>
            <a:r>
              <a:rPr lang="en-US"/>
              <a:t>Tagline</a:t>
            </a:r>
          </a:p>
        </p:txBody>
      </p:sp>
      <p:sp>
        <p:nvSpPr>
          <p:cNvPr id="4" name="Picture Placeholder 9">
            <a:extLst>
              <a:ext uri="{FF2B5EF4-FFF2-40B4-BE49-F238E27FC236}">
                <a16:creationId xmlns:a16="http://schemas.microsoft.com/office/drawing/2014/main" id="{ADDC55DA-97F2-63EE-02EF-D4C44F0A819A}"/>
              </a:ext>
            </a:extLst>
          </p:cNvPr>
          <p:cNvSpPr>
            <a:spLocks noGrp="1"/>
          </p:cNvSpPr>
          <p:nvPr>
            <p:ph type="pic" sz="quarter" idx="13" hasCustomPrompt="1"/>
          </p:nvPr>
        </p:nvSpPr>
        <p:spPr>
          <a:xfrm>
            <a:off x="7603197" y="619303"/>
            <a:ext cx="3685708" cy="3605855"/>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
        <p:nvSpPr>
          <p:cNvPr id="8" name="Text Placeholder 7">
            <a:extLst>
              <a:ext uri="{FF2B5EF4-FFF2-40B4-BE49-F238E27FC236}">
                <a16:creationId xmlns:a16="http://schemas.microsoft.com/office/drawing/2014/main" id="{71519CB2-2A03-C1CE-6275-71B0D80F7AF3}"/>
              </a:ext>
            </a:extLst>
          </p:cNvPr>
          <p:cNvSpPr>
            <a:spLocks noGrp="1"/>
          </p:cNvSpPr>
          <p:nvPr>
            <p:ph type="body" sz="quarter" idx="19" hasCustomPrompt="1"/>
          </p:nvPr>
        </p:nvSpPr>
        <p:spPr>
          <a:xfrm>
            <a:off x="7315200" y="4447436"/>
            <a:ext cx="4284663"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9" name="Text Placeholder 7">
            <a:extLst>
              <a:ext uri="{FF2B5EF4-FFF2-40B4-BE49-F238E27FC236}">
                <a16:creationId xmlns:a16="http://schemas.microsoft.com/office/drawing/2014/main" id="{E85E9040-158F-7303-9FB7-A581ED183A55}"/>
              </a:ext>
            </a:extLst>
          </p:cNvPr>
          <p:cNvSpPr>
            <a:spLocks noGrp="1"/>
          </p:cNvSpPr>
          <p:nvPr>
            <p:ph type="body" sz="quarter" idx="20" hasCustomPrompt="1"/>
          </p:nvPr>
        </p:nvSpPr>
        <p:spPr>
          <a:xfrm>
            <a:off x="7315200" y="5236576"/>
            <a:ext cx="4284663" cy="700088"/>
          </a:xfrm>
        </p:spPr>
        <p:txBody>
          <a:bodyPr anchor="t">
            <a:normAutofit/>
          </a:bodyPr>
          <a:lstStyle>
            <a:lvl1pPr marL="0" indent="0">
              <a:buNone/>
              <a:defRPr sz="1600" b="0" i="0">
                <a:latin typeface="TT Commons Pro Light" panose="020B0103030102020204" pitchFamily="34" charset="77"/>
                <a:cs typeface="Arial" panose="020B0604020202020204" pitchFamily="34" charset="0"/>
              </a:defRPr>
            </a:lvl1pPr>
          </a:lstStyle>
          <a:p>
            <a:pPr lvl="0"/>
            <a:r>
              <a:rPr lang="en-US"/>
              <a:t>Click to add text</a:t>
            </a:r>
          </a:p>
        </p:txBody>
      </p:sp>
      <p:pic>
        <p:nvPicPr>
          <p:cNvPr id="16" name="Picture 15">
            <a:extLst>
              <a:ext uri="{FF2B5EF4-FFF2-40B4-BE49-F238E27FC236}">
                <a16:creationId xmlns:a16="http://schemas.microsoft.com/office/drawing/2014/main" id="{330BE6F5-E2B5-CFC1-61D5-DFA2DA61E2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288368" y="306203"/>
            <a:ext cx="586110" cy="586110"/>
          </a:xfrm>
          <a:prstGeom prst="rect">
            <a:avLst/>
          </a:prstGeom>
        </p:spPr>
      </p:pic>
    </p:spTree>
    <p:extLst>
      <p:ext uri="{BB962C8B-B14F-4D97-AF65-F5344CB8AC3E}">
        <p14:creationId xmlns:p14="http://schemas.microsoft.com/office/powerpoint/2010/main" val="411990576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Risk Gague">
    <p:spTree>
      <p:nvGrpSpPr>
        <p:cNvPr id="1" name=""/>
        <p:cNvGrpSpPr/>
        <p:nvPr/>
      </p:nvGrpSpPr>
      <p:grpSpPr>
        <a:xfrm>
          <a:off x="0" y="0"/>
          <a:ext cx="0" cy="0"/>
          <a:chOff x="0" y="0"/>
          <a:chExt cx="0" cy="0"/>
        </a:xfrm>
      </p:grpSpPr>
      <p:pic>
        <p:nvPicPr>
          <p:cNvPr id="5" name="Picture 4" descr="A gauge with a red yellow and green dial&#10;&#10;AI-generated content may be incorrect.">
            <a:extLst>
              <a:ext uri="{FF2B5EF4-FFF2-40B4-BE49-F238E27FC236}">
                <a16:creationId xmlns:a16="http://schemas.microsoft.com/office/drawing/2014/main" id="{9770F471-BA34-EBE5-5416-49345FF82264}"/>
              </a:ext>
            </a:extLst>
          </p:cNvPr>
          <p:cNvPicPr>
            <a:picLocks noChangeAspect="1"/>
          </p:cNvPicPr>
          <p:nvPr userDrawn="1"/>
        </p:nvPicPr>
        <p:blipFill>
          <a:blip r:embed="rId2"/>
          <a:srcRect l="3030"/>
          <a:stretch>
            <a:fillRect/>
          </a:stretch>
        </p:blipFill>
        <p:spPr>
          <a:xfrm>
            <a:off x="-1" y="0"/>
            <a:ext cx="12192001" cy="6858000"/>
          </a:xfrm>
          <a:prstGeom prst="rect">
            <a:avLst/>
          </a:prstGeom>
        </p:spPr>
      </p:pic>
      <p:sp>
        <p:nvSpPr>
          <p:cNvPr id="7" name="Rectangle 6">
            <a:extLst>
              <a:ext uri="{FF2B5EF4-FFF2-40B4-BE49-F238E27FC236}">
                <a16:creationId xmlns:a16="http://schemas.microsoft.com/office/drawing/2014/main" id="{7F3B6A72-6A52-B535-E559-B6C6EAD3680F}"/>
              </a:ext>
            </a:extLst>
          </p:cNvPr>
          <p:cNvSpPr/>
          <p:nvPr userDrawn="1"/>
        </p:nvSpPr>
        <p:spPr>
          <a:xfrm>
            <a:off x="0" y="0"/>
            <a:ext cx="12192000" cy="6858000"/>
          </a:xfrm>
          <a:prstGeom prst="rect">
            <a:avLst/>
          </a:prstGeom>
          <a:gradFill flip="none" rotWithShape="1">
            <a:gsLst>
              <a:gs pos="100000">
                <a:schemeClr val="bg1">
                  <a:alpha val="76000"/>
                </a:schemeClr>
              </a:gs>
              <a:gs pos="20000">
                <a:scrgbClr r="0" g="0" b="0">
                  <a:alpha val="86905"/>
                </a:scrgbClr>
              </a:gs>
              <a:gs pos="99000">
                <a:schemeClr val="bg1">
                  <a:alpha val="74334"/>
                </a:schemeClr>
              </a:gs>
            </a:gsLst>
            <a:lin ang="1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latin typeface="TT Commons" panose="02000506040000020004" pitchFamily="2" charset="77"/>
            </a:endParaRP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3274539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KAHO Basic Slide (green)">
    <p:spTree>
      <p:nvGrpSpPr>
        <p:cNvPr id="1" name=""/>
        <p:cNvGrpSpPr/>
        <p:nvPr/>
      </p:nvGrpSpPr>
      <p:grpSpPr>
        <a:xfrm>
          <a:off x="0" y="0"/>
          <a:ext cx="0" cy="0"/>
          <a:chOff x="0" y="0"/>
          <a:chExt cx="0" cy="0"/>
        </a:xfrm>
      </p:grpSpPr>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alphaModFix amt="78000"/>
            <a:extLst>
              <a:ext uri="{28A0092B-C50C-407E-A947-70E740481C1C}">
                <a14:useLocalDpi xmlns:a14="http://schemas.microsoft.com/office/drawing/2010/main"/>
              </a:ext>
            </a:extLst>
          </a:blip>
          <a:srcRect t="46312" r="-493"/>
          <a:stretch>
            <a:fillRect/>
          </a:stretch>
        </p:blipFill>
        <p:spPr>
          <a:xfrm>
            <a:off x="8816907" y="0"/>
            <a:ext cx="3375093" cy="1583144"/>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6294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QUESTION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51000"/>
                    </a14:imgEffect>
                    <a14:imgEffect>
                      <a14:brightnessContrast bright="-23000" contrast="-26000"/>
                    </a14:imgEffect>
                  </a14:imgLayer>
                </a14:imgProps>
              </a:ext>
            </a:extLst>
          </a:blip>
          <a:srcRect t="7812" b="7812"/>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6F47807-432A-75C5-B992-A7369F014A6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376778132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COMPLEXITY AND CONFLIC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770F471-BA34-EBE5-5416-49345FF82264}"/>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64000"/>
                    </a14:imgEffect>
                  </a14:imgLayer>
                </a14:imgProps>
              </a:ext>
            </a:extLst>
          </a:blip>
          <a:srcRect l="388" r="388"/>
          <a:stretch/>
        </p:blipFill>
        <p:spPr>
          <a:xfrm>
            <a:off x="-1" y="0"/>
            <a:ext cx="12192001"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287856141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1CC1B-2AD0-C254-53B1-9FEDCAB06D48}"/>
              </a:ext>
            </a:extLst>
          </p:cNvPr>
          <p:cNvSpPr>
            <a:spLocks/>
          </p:cNvSpPr>
          <p:nvPr userDrawn="1"/>
        </p:nvSpPr>
        <p:spPr>
          <a:xfrm>
            <a:off x="1" y="-1"/>
            <a:ext cx="12193524" cy="617294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Picture Placeholder 10">
            <a:extLst>
              <a:ext uri="{FF2B5EF4-FFF2-40B4-BE49-F238E27FC236}">
                <a16:creationId xmlns:a16="http://schemas.microsoft.com/office/drawing/2014/main" id="{EFC23991-F3B8-75F0-DD83-14444B2CB1A7}"/>
              </a:ext>
            </a:extLst>
          </p:cNvPr>
          <p:cNvSpPr>
            <a:spLocks noGrp="1"/>
          </p:cNvSpPr>
          <p:nvPr>
            <p:ph type="pic" sz="quarter" idx="10" hasCustomPrompt="1"/>
          </p:nvPr>
        </p:nvSpPr>
        <p:spPr>
          <a:xfrm>
            <a:off x="0" y="-1"/>
            <a:ext cx="12192000" cy="6172945"/>
          </a:xfrm>
          <a:prstGeom prst="rect">
            <a:avLst/>
          </a:prstGeom>
        </p:spPr>
        <p:txBody>
          <a:bodyPr>
            <a:normAutofit/>
          </a:bodyPr>
          <a:lstStyle>
            <a:lvl1pPr marL="0" indent="0">
              <a:buNone/>
              <a:defRPr sz="1800" b="0" i="0">
                <a:solidFill>
                  <a:schemeClr val="bg2"/>
                </a:solidFill>
              </a:defRPr>
            </a:lvl1pPr>
          </a:lstStyle>
          <a:p>
            <a:r>
              <a:rPr lang="en-US"/>
              <a:t>Click to add image</a:t>
            </a:r>
          </a:p>
        </p:txBody>
      </p:sp>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097280"/>
            <a:ext cx="9753600" cy="2438400"/>
          </a:xfrm>
          <a:prstGeom prst="rect">
            <a:avLst/>
          </a:prstGeom>
          <a:noFill/>
        </p:spPr>
        <p:txBody>
          <a:bodyPr anchor="b">
            <a:normAutofit/>
          </a:bodyPr>
          <a:lstStyle>
            <a:lvl1pPr algn="l">
              <a:defRPr sz="5333" b="1" i="0">
                <a:solidFill>
                  <a:schemeClr val="tx1"/>
                </a:solidFill>
                <a:effectLst>
                  <a:outerShdw blurRad="50800" dist="38100" dir="2700000" algn="tl" rotWithShape="0">
                    <a:prstClr val="black">
                      <a:alpha val="40000"/>
                    </a:prstClr>
                  </a:outerShdw>
                </a:effectLst>
                <a:latin typeface="Tiempos Headline Semibold" panose="02020703060303060403" pitchFamily="18" charset="77"/>
                <a:cs typeface="Times New Roman" panose="02020603050405020304" pitchFamily="18" charset="0"/>
              </a:defRPr>
            </a:lvl1pPr>
          </a:lstStyle>
          <a:p>
            <a:r>
              <a:rPr lang="en-US"/>
              <a:t>Click to add title</a:t>
            </a:r>
          </a:p>
        </p:txBody>
      </p:sp>
      <p:pic>
        <p:nvPicPr>
          <p:cNvPr id="5" name="Picture 4" descr="A logo with a green circle and a black background&#10;&#10;Description automatically generated">
            <a:extLst>
              <a:ext uri="{FF2B5EF4-FFF2-40B4-BE49-F238E27FC236}">
                <a16:creationId xmlns:a16="http://schemas.microsoft.com/office/drawing/2014/main" id="{30455BFA-9674-8B54-2FB2-1CBD1E8EFD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2562" y="6187167"/>
            <a:ext cx="1346511" cy="612051"/>
          </a:xfrm>
          <a:prstGeom prst="rect">
            <a:avLst/>
          </a:prstGeom>
        </p:spPr>
      </p:pic>
      <p:pic>
        <p:nvPicPr>
          <p:cNvPr id="4" name="Picture 3" descr="A swirl of lights in the sky&#10;&#10;AI-generated content may be incorrect.">
            <a:extLst>
              <a:ext uri="{FF2B5EF4-FFF2-40B4-BE49-F238E27FC236}">
                <a16:creationId xmlns:a16="http://schemas.microsoft.com/office/drawing/2014/main" id="{ED97D68F-BB28-AD34-F361-037754165C43}"/>
              </a:ext>
            </a:extLst>
          </p:cNvPr>
          <p:cNvPicPr>
            <a:picLocks noChangeAspect="1"/>
          </p:cNvPicPr>
          <p:nvPr userDrawn="1"/>
        </p:nvPicPr>
        <p:blipFill>
          <a:blip r:embed="rId3"/>
          <a:srcRect t="5593" b="18305"/>
          <a:stretch>
            <a:fillRect/>
          </a:stretch>
        </p:blipFill>
        <p:spPr>
          <a:xfrm>
            <a:off x="0" y="0"/>
            <a:ext cx="12192000" cy="6185547"/>
          </a:xfrm>
          <a:prstGeom prst="rect">
            <a:avLst/>
          </a:prstGeom>
        </p:spPr>
      </p:pic>
    </p:spTree>
    <p:extLst>
      <p:ext uri="{BB962C8B-B14F-4D97-AF65-F5344CB8AC3E}">
        <p14:creationId xmlns:p14="http://schemas.microsoft.com/office/powerpoint/2010/main" val="2084268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Gray">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81304C3-542D-C5EB-593E-65F3066DE2FE}"/>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rcRect/>
          <a:stretch/>
        </p:blipFill>
        <p:spPr>
          <a:xfrm>
            <a:off x="110386" y="1600201"/>
            <a:ext cx="3350895" cy="2948787"/>
          </a:xfrm>
          <a:prstGeom prst="rect">
            <a:avLst/>
          </a:prstGeom>
          <a:effectLst>
            <a:outerShdw blurRad="50800" dist="50800" dir="5400000" algn="ctr" rotWithShape="0">
              <a:srgbClr val="000000">
                <a:alpha val="30000"/>
              </a:srgbClr>
            </a:outerShdw>
          </a:effectLst>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097280"/>
            <a:ext cx="9753600" cy="2438400"/>
          </a:xfrm>
          <a:prstGeom prst="rect">
            <a:avLst/>
          </a:prstGeom>
        </p:spPr>
        <p:txBody>
          <a:bodyPr anchor="b">
            <a:normAutofit/>
          </a:bodyPr>
          <a:lstStyle>
            <a:lvl1pPr algn="l">
              <a:defRPr sz="7200" b="1" i="0">
                <a:solidFill>
                  <a:schemeClr val="tx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535680"/>
            <a:ext cx="9753600" cy="1655763"/>
          </a:xfrm>
          <a:prstGeom prst="rect">
            <a:avLst/>
          </a:prstGeom>
        </p:spPr>
        <p:txBody>
          <a:bodyPr>
            <a:normAutofit/>
          </a:bodyPr>
          <a:lstStyle>
            <a:lvl1pPr marL="0" indent="0" algn="l">
              <a:buNone/>
              <a:defRPr sz="1800" b="0" i="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582267B7-342F-E79F-C819-12984D2C5CE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
        <p:nvSpPr>
          <p:cNvPr id="4" name="TextBox 3">
            <a:extLst>
              <a:ext uri="{FF2B5EF4-FFF2-40B4-BE49-F238E27FC236}">
                <a16:creationId xmlns:a16="http://schemas.microsoft.com/office/drawing/2014/main" id="{53BE30E5-83DB-27B0-9A6D-AA7290A1EFCD}"/>
              </a:ext>
            </a:extLst>
          </p:cNvPr>
          <p:cNvSpPr txBox="1"/>
          <p:nvPr userDrawn="1">
            <p:extLst>
              <p:ext uri="{1162E1C5-73C7-4A58-AE30-91384D911F3F}">
                <p184:classification xmlns:p184="http://schemas.microsoft.com/office/powerpoint/2018/4/main" val="ftr"/>
              </p:ext>
            </p:extLst>
          </p:nvPr>
        </p:nvSpPr>
        <p:spPr>
          <a:xfrm>
            <a:off x="5185538" y="6642101"/>
            <a:ext cx="1849439" cy="153888"/>
          </a:xfrm>
          <a:prstGeom prst="rect">
            <a:avLst/>
          </a:prstGeom>
        </p:spPr>
        <p:txBody>
          <a:bodyPr horzOverflow="overflow" lIns="0" tIns="0" rIns="0" bIns="0">
            <a:spAutoFit/>
          </a:bodyPr>
          <a:lstStyle/>
          <a:p>
            <a:pPr algn="l"/>
            <a:r>
              <a:rPr lang="en-US" sz="1000">
                <a:solidFill>
                  <a:srgbClr val="D89B2B"/>
                </a:solidFill>
                <a:latin typeface="Default"/>
              </a:rPr>
              <a:t>Confidential - Company Proprietary</a:t>
            </a:r>
          </a:p>
        </p:txBody>
      </p:sp>
    </p:spTree>
    <p:extLst>
      <p:ext uri="{BB962C8B-B14F-4D97-AF65-F5344CB8AC3E}">
        <p14:creationId xmlns:p14="http://schemas.microsoft.com/office/powerpoint/2010/main" val="190294606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RJA Basic Slide">
    <p:spTree>
      <p:nvGrpSpPr>
        <p:cNvPr id="1" name=""/>
        <p:cNvGrpSpPr/>
        <p:nvPr/>
      </p:nvGrpSpPr>
      <p:grpSpPr>
        <a:xfrm>
          <a:off x="0" y="0"/>
          <a:ext cx="0" cy="0"/>
          <a:chOff x="0" y="0"/>
          <a:chExt cx="0" cy="0"/>
        </a:xfrm>
      </p:grpSpPr>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alphaModFix amt="78000"/>
            <a:extLst>
              <a:ext uri="{28A0092B-C50C-407E-A947-70E740481C1C}">
                <a14:useLocalDpi xmlns:a14="http://schemas.microsoft.com/office/drawing/2010/main"/>
              </a:ext>
            </a:extLst>
          </a:blip>
          <a:srcRect t="46312" r="-493"/>
          <a:stretch>
            <a:fillRect/>
          </a:stretch>
        </p:blipFill>
        <p:spPr>
          <a:xfrm>
            <a:off x="8816907" y="0"/>
            <a:ext cx="3375093" cy="1583144"/>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253287" cy="845328"/>
          </a:xfrm>
          <a:prstGeom prst="rect">
            <a:avLst/>
          </a:prstGeom>
        </p:spPr>
        <p:txBody>
          <a:bodyPr anchor="t"/>
          <a:lstStyle>
            <a:lvl1pPr>
              <a:defRPr b="1" i="0"/>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1583145"/>
            <a:ext cx="11253288" cy="4283169"/>
          </a:xfrm>
          <a:prstGeom prst="rect">
            <a:avLst/>
          </a:prstGeom>
        </p:spPr>
        <p:txBody>
          <a:bodyPr>
            <a:normAutofit/>
          </a:bodyPr>
          <a:lstStyle>
            <a:lvl1pPr marL="228594" indent="-228594">
              <a:buClr>
                <a:srgbClr val="6584F3"/>
              </a:buClr>
              <a:buSzPct val="100000"/>
              <a:buFont typeface="Wingdings" pitchFamily="2" charset="2"/>
              <a:buChar char="§"/>
              <a:defRPr sz="2133" b="0" i="0"/>
            </a:lvl1pPr>
            <a:lvl2pPr marL="685783" indent="-228594">
              <a:buClr>
                <a:srgbClr val="6584F3"/>
              </a:buClr>
              <a:buFont typeface="Wingdings" pitchFamily="2" charset="2"/>
              <a:buChar char="§"/>
              <a:defRPr sz="1867" b="0" i="0"/>
            </a:lvl2pPr>
            <a:lvl3pPr marL="1142971" indent="-228594">
              <a:buClr>
                <a:srgbClr val="6584F3"/>
              </a:buClr>
              <a:buFont typeface="Wingdings" pitchFamily="2" charset="2"/>
              <a:buChar char="§"/>
              <a:defRPr sz="1600" b="0" i="0"/>
            </a:lvl3pPr>
            <a:lvl4pPr marL="1600160" indent="-228594">
              <a:buClr>
                <a:srgbClr val="6584F3"/>
              </a:buClr>
              <a:buFont typeface="Wingdings" pitchFamily="2" charset="2"/>
              <a:buChar char="§"/>
              <a:defRPr sz="1600" b="0" i="0"/>
            </a:lvl4pPr>
            <a:lvl5pPr marL="2057349" indent="-228594">
              <a:buClr>
                <a:srgbClr val="6584F3"/>
              </a:buClr>
              <a:buFont typeface="Wingdings" pitchFamily="2" charset="2"/>
              <a:buChar char="§"/>
              <a:defRPr sz="1467"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19527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ud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27000"/>
                    </a14:imgEffect>
                    <a14:imgEffect>
                      <a14:colorTemperature colorTemp="4145"/>
                    </a14:imgEffect>
                    <a14:imgEffect>
                      <a14:brightnessContrast bright="-77000" contrast="-23000"/>
                    </a14:imgEffect>
                  </a14:imgLayer>
                </a14:imgProps>
              </a:ext>
            </a:extLst>
          </a:blip>
          <a:srcRect l="388" r="388"/>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40656142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cSld name="SPACE CLOUD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81DAB34-216D-032A-E133-7692D2C3DC6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pic>
        <p:nvPicPr>
          <p:cNvPr id="6" name="Picture 5">
            <a:extLst>
              <a:ext uri="{FF2B5EF4-FFF2-40B4-BE49-F238E27FC236}">
                <a16:creationId xmlns:a16="http://schemas.microsoft.com/office/drawing/2014/main" id="{C1A43382-AE7B-380B-3E74-08BB689AB3CF}"/>
              </a:ext>
            </a:extLst>
          </p:cNvPr>
          <p:cNvPicPr>
            <a:picLocks noChangeAspect="1"/>
          </p:cNvPicPr>
          <p:nvPr userDrawn="1"/>
        </p:nvPicPr>
        <p:blipFill>
          <a:blip r:embed="rId3">
            <a:extLst>
              <a:ext uri="{BEBA8EAE-BF5A-486C-A8C5-ECC9F3942E4B}">
                <a14:imgProps xmlns:a14="http://schemas.microsoft.com/office/drawing/2010/main">
                  <a14:imgLayer r:embed="rId4">
                    <a14:imgEffect>
                      <a14:sharpenSoften amount="-27000"/>
                    </a14:imgEffect>
                    <a14:imgEffect>
                      <a14:colorTemperature colorTemp="4145"/>
                    </a14:imgEffect>
                    <a14:imgEffect>
                      <a14:brightnessContrast bright="-77000" contrast="-23000"/>
                    </a14:imgEffect>
                  </a14:imgLayer>
                </a14:imgProps>
              </a:ext>
            </a:extLst>
          </a:blip>
          <a:srcRect l="388" r="388"/>
          <a:stretch/>
        </p:blipFill>
        <p:spPr>
          <a:xfrm>
            <a:off x="0" y="0"/>
            <a:ext cx="12192000" cy="6858000"/>
          </a:xfrm>
          <a:prstGeom prst="rect">
            <a:avLst/>
          </a:prstGeom>
        </p:spPr>
      </p:pic>
    </p:spTree>
    <p:extLst>
      <p:ext uri="{BB962C8B-B14F-4D97-AF65-F5344CB8AC3E}">
        <p14:creationId xmlns:p14="http://schemas.microsoft.com/office/powerpoint/2010/main" val="154379112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Cloud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73000"/>
                    </a14:imgEffect>
                  </a14:imgLayer>
                </a14:imgProps>
              </a:ext>
            </a:extLst>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6736515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2-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7091916" y="399128"/>
            <a:ext cx="4713059" cy="5672063"/>
          </a:xfrm>
          <a:prstGeom prst="rect">
            <a:avLst/>
          </a:prstGeom>
          <a:solidFill>
            <a:srgbClr val="E5E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pPr marL="7938" marR="0" lvl="0" indent="0" algn="l" defTabSz="914400" rtl="0" eaLnBrk="1" fontAlgn="auto" latinLnBrk="0" hangingPunct="1">
              <a:lnSpc>
                <a:spcPct val="90000"/>
              </a:lnSpc>
              <a:spcBef>
                <a:spcPts val="1000"/>
              </a:spcBef>
              <a:spcAft>
                <a:spcPts val="0"/>
              </a:spcAft>
              <a:buClrTx/>
              <a:buSzTx/>
              <a:buFontTx/>
              <a:buNone/>
              <a:tabLst/>
              <a:defRPr/>
            </a:pPr>
            <a:r>
              <a:rPr lang="en-GB"/>
              <a:t>Click to add picture or icon</a:t>
            </a:r>
          </a:p>
          <a:p>
            <a:endParaRPr lang="en-GB"/>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2"/>
                </a:solidFill>
              </a:defRPr>
            </a:lvl1pPr>
          </a:lstStyle>
          <a:p>
            <a:pPr lvl="0"/>
            <a:r>
              <a:rPr lang="en-US"/>
              <a:t>Tagline</a:t>
            </a:r>
          </a:p>
        </p:txBody>
      </p:sp>
      <p:sp>
        <p:nvSpPr>
          <p:cNvPr id="4" name="Picture Placeholder 9">
            <a:extLst>
              <a:ext uri="{FF2B5EF4-FFF2-40B4-BE49-F238E27FC236}">
                <a16:creationId xmlns:a16="http://schemas.microsoft.com/office/drawing/2014/main" id="{ADDC55DA-97F2-63EE-02EF-D4C44F0A819A}"/>
              </a:ext>
            </a:extLst>
          </p:cNvPr>
          <p:cNvSpPr>
            <a:spLocks noGrp="1"/>
          </p:cNvSpPr>
          <p:nvPr>
            <p:ph type="pic" sz="quarter" idx="13" hasCustomPrompt="1"/>
          </p:nvPr>
        </p:nvSpPr>
        <p:spPr>
          <a:xfrm>
            <a:off x="7603197" y="619303"/>
            <a:ext cx="3685708" cy="3605855"/>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
        <p:nvSpPr>
          <p:cNvPr id="8" name="Text Placeholder 7">
            <a:extLst>
              <a:ext uri="{FF2B5EF4-FFF2-40B4-BE49-F238E27FC236}">
                <a16:creationId xmlns:a16="http://schemas.microsoft.com/office/drawing/2014/main" id="{71519CB2-2A03-C1CE-6275-71B0D80F7AF3}"/>
              </a:ext>
            </a:extLst>
          </p:cNvPr>
          <p:cNvSpPr>
            <a:spLocks noGrp="1"/>
          </p:cNvSpPr>
          <p:nvPr>
            <p:ph type="body" sz="quarter" idx="19" hasCustomPrompt="1"/>
          </p:nvPr>
        </p:nvSpPr>
        <p:spPr>
          <a:xfrm>
            <a:off x="7315200" y="4447436"/>
            <a:ext cx="4284663"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9" name="Text Placeholder 7">
            <a:extLst>
              <a:ext uri="{FF2B5EF4-FFF2-40B4-BE49-F238E27FC236}">
                <a16:creationId xmlns:a16="http://schemas.microsoft.com/office/drawing/2014/main" id="{E85E9040-158F-7303-9FB7-A581ED183A55}"/>
              </a:ext>
            </a:extLst>
          </p:cNvPr>
          <p:cNvSpPr>
            <a:spLocks noGrp="1"/>
          </p:cNvSpPr>
          <p:nvPr>
            <p:ph type="body" sz="quarter" idx="20" hasCustomPrompt="1"/>
          </p:nvPr>
        </p:nvSpPr>
        <p:spPr>
          <a:xfrm>
            <a:off x="7315200" y="5236576"/>
            <a:ext cx="4284663" cy="700088"/>
          </a:xfrm>
        </p:spPr>
        <p:txBody>
          <a:bodyPr anchor="t">
            <a:normAutofit/>
          </a:bodyPr>
          <a:lstStyle>
            <a:lvl1pPr marL="0" indent="0">
              <a:buNone/>
              <a:defRPr sz="1600" b="0" i="0">
                <a:latin typeface="TT Commons Pro Light" panose="020B0103030102020204" pitchFamily="34" charset="77"/>
                <a:cs typeface="Arial" panose="020B0604020202020204" pitchFamily="34" charset="0"/>
              </a:defRPr>
            </a:lvl1pPr>
          </a:lstStyle>
          <a:p>
            <a:pPr lvl="0"/>
            <a:r>
              <a:rPr lang="en-US"/>
              <a:t>Click to add text</a:t>
            </a:r>
          </a:p>
        </p:txBody>
      </p:sp>
      <p:pic>
        <p:nvPicPr>
          <p:cNvPr id="16" name="Picture 15">
            <a:extLst>
              <a:ext uri="{FF2B5EF4-FFF2-40B4-BE49-F238E27FC236}">
                <a16:creationId xmlns:a16="http://schemas.microsoft.com/office/drawing/2014/main" id="{330BE6F5-E2B5-CFC1-61D5-DFA2DA61E2E5}"/>
              </a:ext>
            </a:extLst>
          </p:cNvPr>
          <p:cNvPicPr>
            <a:picLocks noChangeAspect="1"/>
          </p:cNvPicPr>
          <p:nvPr userDrawn="1"/>
        </p:nvPicPr>
        <p:blipFill>
          <a:blip r:embed="rId3"/>
          <a:srcRect/>
          <a:stretch/>
        </p:blipFill>
        <p:spPr>
          <a:xfrm>
            <a:off x="11288368" y="306203"/>
            <a:ext cx="586110" cy="586110"/>
          </a:xfrm>
          <a:prstGeom prst="rect">
            <a:avLst/>
          </a:prstGeom>
        </p:spPr>
      </p:pic>
    </p:spTree>
    <p:extLst>
      <p:ext uri="{BB962C8B-B14F-4D97-AF65-F5344CB8AC3E}">
        <p14:creationId xmlns:p14="http://schemas.microsoft.com/office/powerpoint/2010/main" val="424016184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1_SPACE CLOUD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31D4BE-1026-3ACA-7C34-77C7B5BFF3E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68000"/>
                    </a14:imgEffect>
                  </a14:imgLayer>
                </a14:imgProps>
              </a:ext>
            </a:extLst>
          </a:blip>
          <a:srcRect b="1563"/>
          <a:stretch/>
        </p:blipFill>
        <p:spPr>
          <a:xfrm>
            <a:off x="0" y="-1"/>
            <a:ext cx="12192000" cy="6858001"/>
          </a:xfrm>
          <a:prstGeom prst="rect">
            <a:avLst/>
          </a:prstGeom>
        </p:spPr>
      </p:pic>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4">
            <a:extLst>
              <a:ext uri="{BEBA8EAE-BF5A-486C-A8C5-ECC9F3942E4B}">
                <a14:imgProps xmlns:a14="http://schemas.microsoft.com/office/drawing/2010/main">
                  <a14:imgLayer r:embed="rId5">
                    <a14:imgEffect>
                      <a14:sharpenSoften amount="-10000"/>
                    </a14:imgEffect>
                    <a14:imgEffect>
                      <a14:brightnessContrast bright="-83000" contrast="-37000"/>
                    </a14:imgEffect>
                  </a14:imgLayer>
                </a14:imgProps>
              </a:ext>
            </a:extLst>
          </a:blip>
          <a:srcRect t="7812" b="7812"/>
          <a:stretch/>
        </p:blipFill>
        <p:spPr>
          <a:xfrm>
            <a:off x="0" y="0"/>
            <a:ext cx="12192000" cy="6858000"/>
          </a:xfrm>
          <a:prstGeom prst="rect">
            <a:avLst/>
          </a:prstGeom>
        </p:spPr>
      </p:pic>
      <p:pic>
        <p:nvPicPr>
          <p:cNvPr id="4" name="Picture 3">
            <a:extLst>
              <a:ext uri="{FF2B5EF4-FFF2-40B4-BE49-F238E27FC236}">
                <a16:creationId xmlns:a16="http://schemas.microsoft.com/office/drawing/2014/main" id="{D81DAB34-216D-032A-E133-7692D2C3DC69}"/>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67901188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2_SPACE CLOUD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31D4BE-1026-3ACA-7C34-77C7B5BFF3E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68000"/>
                    </a14:imgEffect>
                  </a14:imgLayer>
                </a14:imgProps>
              </a:ext>
            </a:extLst>
          </a:blip>
          <a:srcRect b="1563"/>
          <a:stretch/>
        </p:blipFill>
        <p:spPr>
          <a:xfrm>
            <a:off x="0" y="-1"/>
            <a:ext cx="12192000" cy="6858001"/>
          </a:xfrm>
          <a:prstGeom prst="rect">
            <a:avLst/>
          </a:prstGeom>
        </p:spPr>
      </p:pic>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4">
            <a:extLst>
              <a:ext uri="{BEBA8EAE-BF5A-486C-A8C5-ECC9F3942E4B}">
                <a14:imgProps xmlns:a14="http://schemas.microsoft.com/office/drawing/2010/main">
                  <a14:imgLayer r:embed="rId5">
                    <a14:imgEffect>
                      <a14:sharpenSoften amount="-10000"/>
                    </a14:imgEffect>
                    <a14:imgEffect>
                      <a14:brightnessContrast bright="-83000" contrast="-37000"/>
                    </a14:imgEffect>
                  </a14:imgLayer>
                </a14:imgProps>
              </a:ext>
            </a:extLst>
          </a:blip>
          <a:srcRect t="8099" b="8099"/>
          <a:stretch/>
        </p:blipFill>
        <p:spPr>
          <a:xfrm>
            <a:off x="0" y="0"/>
            <a:ext cx="12192000" cy="6858000"/>
          </a:xfrm>
          <a:prstGeom prst="rect">
            <a:avLst/>
          </a:prstGeom>
        </p:spPr>
      </p:pic>
      <p:pic>
        <p:nvPicPr>
          <p:cNvPr id="4" name="Picture 3">
            <a:extLst>
              <a:ext uri="{FF2B5EF4-FFF2-40B4-BE49-F238E27FC236}">
                <a16:creationId xmlns:a16="http://schemas.microsoft.com/office/drawing/2014/main" id="{D81DAB34-216D-032A-E133-7692D2C3DC69}"/>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26333398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Cloud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45000"/>
                    </a14:imgEffect>
                  </a14:imgLayer>
                </a14:imgProps>
              </a:ext>
            </a:extLst>
          </a:blip>
          <a:srcRect l="388" r="388"/>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3238071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3_SPACE CLOUD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31D4BE-1026-3ACA-7C34-77C7B5BFF3E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68000"/>
                    </a14:imgEffect>
                  </a14:imgLayer>
                </a14:imgProps>
              </a:ext>
            </a:extLst>
          </a:blip>
          <a:srcRect b="1563"/>
          <a:stretch/>
        </p:blipFill>
        <p:spPr>
          <a:xfrm>
            <a:off x="0" y="-1"/>
            <a:ext cx="12192000" cy="6858001"/>
          </a:xfrm>
          <a:prstGeom prst="rect">
            <a:avLst/>
          </a:prstGeom>
        </p:spPr>
      </p:pic>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4">
            <a:extLst>
              <a:ext uri="{BEBA8EAE-BF5A-486C-A8C5-ECC9F3942E4B}">
                <a14:imgProps xmlns:a14="http://schemas.microsoft.com/office/drawing/2010/main">
                  <a14:imgLayer r:embed="rId5">
                    <a14:imgEffect>
                      <a14:sharpenSoften amount="-13000"/>
                    </a14:imgEffect>
                    <a14:imgEffect>
                      <a14:brightnessContrast bright="-26000"/>
                    </a14:imgEffect>
                  </a14:imgLayer>
                </a14:imgProps>
              </a:ext>
            </a:extLst>
          </a:blip>
          <a:srcRect l="388" r="388"/>
          <a:stretch/>
        </p:blipFill>
        <p:spPr>
          <a:xfrm>
            <a:off x="0" y="0"/>
            <a:ext cx="12192000" cy="6858000"/>
          </a:xfrm>
          <a:prstGeom prst="rect">
            <a:avLst/>
          </a:prstGeom>
        </p:spPr>
      </p:pic>
      <p:pic>
        <p:nvPicPr>
          <p:cNvPr id="4" name="Picture 3">
            <a:extLst>
              <a:ext uri="{FF2B5EF4-FFF2-40B4-BE49-F238E27FC236}">
                <a16:creationId xmlns:a16="http://schemas.microsoft.com/office/drawing/2014/main" id="{D81DAB34-216D-032A-E133-7692D2C3DC69}"/>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281514260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terconnectivit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31000"/>
                    </a14:imgEffect>
                  </a14:imgLayer>
                </a14:imgProps>
              </a:ext>
            </a:extLst>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9895333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INTERCONNECT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1000"/>
                    </a14:imgEffect>
                    <a14:imgEffect>
                      <a14:brightnessContrast bright="-27000"/>
                    </a14:imgEffect>
                  </a14:imgLayer>
                </a14:imgProps>
              </a:ext>
            </a:extLst>
          </a:blip>
          <a:srcRect t="7812" b="7812"/>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6F47807-432A-75C5-B992-A7369F014A6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44601831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UE HAZE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31000"/>
                    </a14:imgEffect>
                  </a14:imgLayer>
                </a14:imgProps>
              </a:ext>
            </a:extLst>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42450181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UE HAZ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1000"/>
                    </a14:imgEffect>
                    <a14:imgEffect>
                      <a14:brightnessContrast bright="-27000"/>
                    </a14:imgEffect>
                  </a14:imgLayer>
                </a14:imgProps>
              </a:ext>
            </a:extLst>
          </a:blip>
          <a:srcRect t="7812" b="7812"/>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6F47807-432A-75C5-B992-A7369F014A6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18781563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2ED6BC7-9090-E45F-7EDB-875BFCD9EBAB}"/>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latin typeface="TT Commons" panose="02000506040000020004" pitchFamily="2" charset="77"/>
            </a:endParaRPr>
          </a:p>
        </p:txBody>
      </p:sp>
      <p:pic>
        <p:nvPicPr>
          <p:cNvPr id="8" name="Picture 7" descr="A hand on a dice&#10;&#10;Description automatically generated">
            <a:extLst>
              <a:ext uri="{FF2B5EF4-FFF2-40B4-BE49-F238E27FC236}">
                <a16:creationId xmlns:a16="http://schemas.microsoft.com/office/drawing/2014/main" id="{7E621CE2-82D6-2FCA-B572-B441948B00E4}"/>
              </a:ext>
            </a:extLst>
          </p:cNvPr>
          <p:cNvPicPr>
            <a:picLocks/>
          </p:cNvPicPr>
          <p:nvPr userDrawn="1"/>
        </p:nvPicPr>
        <p:blipFill>
          <a:blip r:embed="rId2">
            <a:alphaModFix amt="20000"/>
          </a:blip>
          <a:srcRect l="5075" r="5075" b="5904"/>
          <a:stretch>
            <a:fillRect/>
          </a:stretch>
        </p:blipFill>
        <p:spPr>
          <a:xfrm>
            <a:off x="-2" y="-1"/>
            <a:ext cx="12192001" cy="6858001"/>
          </a:xfrm>
          <a:prstGeom prst="rect">
            <a:avLst/>
          </a:prstGeom>
          <a:effectLst>
            <a:reflection blurRad="6350" stA="50000" endA="300" endPos="55500" dir="5400000" sy="-100000" algn="bl" rotWithShape="0"/>
          </a:effectLst>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17233525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tage Ligh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F13AC1-0540-2CBE-579B-FACE7E5BD765}"/>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latin typeface="TT Commons" panose="02000506040000020004" pitchFamily="2" charset="77"/>
            </a:endParaRPr>
          </a:p>
        </p:txBody>
      </p:sp>
      <p:pic>
        <p:nvPicPr>
          <p:cNvPr id="7" name="Picture Placeholder 4">
            <a:extLst>
              <a:ext uri="{FF2B5EF4-FFF2-40B4-BE49-F238E27FC236}">
                <a16:creationId xmlns:a16="http://schemas.microsoft.com/office/drawing/2014/main" id="{573ADE3E-D3F1-4013-6D61-D4A98FB87D03}"/>
              </a:ext>
            </a:extLst>
          </p:cNvPr>
          <p:cNvPicPr>
            <a:picLocks/>
          </p:cNvPicPr>
          <p:nvPr userDrawn="1"/>
        </p:nvPicPr>
        <p:blipFill>
          <a:blip r:embed="rId2">
            <a:alphaModFix amt="35000"/>
          </a:blip>
          <a:srcRect t="834" b="8644"/>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78FBA30C-58EE-D43A-E9BB-51073F4D1013}"/>
              </a:ext>
            </a:extLst>
          </p:cNvPr>
          <p:cNvSpPr/>
          <p:nvPr userDrawn="1"/>
        </p:nvSpPr>
        <p:spPr>
          <a:xfrm>
            <a:off x="0" y="0"/>
            <a:ext cx="9354031" cy="6858000"/>
          </a:xfrm>
          <a:prstGeom prst="rect">
            <a:avLst/>
          </a:prstGeom>
          <a:gradFill flip="none" rotWithShape="1">
            <a:gsLst>
              <a:gs pos="59000">
                <a:schemeClr val="bg1">
                  <a:alpha val="45980"/>
                </a:schemeClr>
              </a:gs>
              <a:gs pos="0">
                <a:scrgbClr r="0" g="0" b="0">
                  <a:alpha val="57251"/>
                </a:scrgbClr>
              </a:gs>
              <a:gs pos="100000">
                <a:schemeClr val="bg1">
                  <a:alpha val="0"/>
                </a:scheme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latin typeface="TT Commons" panose="02000506040000020004" pitchFamily="2" charset="77"/>
            </a:endParaRP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98479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Basic_1">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8" name="Rectangle 7">
            <a:extLst>
              <a:ext uri="{FF2B5EF4-FFF2-40B4-BE49-F238E27FC236}">
                <a16:creationId xmlns:a16="http://schemas.microsoft.com/office/drawing/2014/main" id="{4743F01E-C3CF-DE7E-96B1-25AE85E5F9BA}"/>
              </a:ext>
            </a:extLst>
          </p:cNvPr>
          <p:cNvSpPr/>
          <p:nvPr userDrawn="1"/>
        </p:nvSpPr>
        <p:spPr>
          <a:xfrm>
            <a:off x="9842573" y="0"/>
            <a:ext cx="2349427" cy="6858000"/>
          </a:xfrm>
          <a:prstGeom prst="rect">
            <a:avLst/>
          </a:prstGeom>
          <a:solidFill>
            <a:srgbClr val="F0F1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nchor="ct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2475666"/>
            <a:ext cx="9127218" cy="3721934"/>
          </a:xfrm>
          <a:prstGeom prst="rect">
            <a:avLst/>
          </a:prstGeo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Tree>
    <p:extLst>
      <p:ext uri="{BB962C8B-B14F-4D97-AF65-F5344CB8AC3E}">
        <p14:creationId xmlns:p14="http://schemas.microsoft.com/office/powerpoint/2010/main" val="203182441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Stage Ligh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F13AC1-0540-2CBE-579B-FACE7E5BD765}"/>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latin typeface="TT Commons" panose="02000506040000020004" pitchFamily="2" charset="77"/>
            </a:endParaRPr>
          </a:p>
        </p:txBody>
      </p:sp>
      <p:pic>
        <p:nvPicPr>
          <p:cNvPr id="7" name="Picture Placeholder 4">
            <a:extLst>
              <a:ext uri="{FF2B5EF4-FFF2-40B4-BE49-F238E27FC236}">
                <a16:creationId xmlns:a16="http://schemas.microsoft.com/office/drawing/2014/main" id="{573ADE3E-D3F1-4013-6D61-D4A98FB87D03}"/>
              </a:ext>
            </a:extLst>
          </p:cNvPr>
          <p:cNvPicPr>
            <a:picLocks/>
          </p:cNvPicPr>
          <p:nvPr userDrawn="1"/>
        </p:nvPicPr>
        <p:blipFill>
          <a:blip r:embed="rId2">
            <a:alphaModFix amt="35000"/>
          </a:blip>
          <a:srcRect t="834" b="8644"/>
          <a:stretch>
            <a:fillRect/>
          </a:stretch>
        </p:blipFill>
        <p:spPr>
          <a:xfrm>
            <a:off x="0" y="0"/>
            <a:ext cx="12192000" cy="6858000"/>
          </a:xfrm>
          <a:prstGeom prst="rect">
            <a:avLst/>
          </a:prstGeom>
        </p:spPr>
      </p:pic>
    </p:spTree>
    <p:extLst>
      <p:ext uri="{BB962C8B-B14F-4D97-AF65-F5344CB8AC3E}">
        <p14:creationId xmlns:p14="http://schemas.microsoft.com/office/powerpoint/2010/main" val="93735571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MPLEXITY AND CONFLIC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770F471-BA34-EBE5-5416-49345FF82264}"/>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64000"/>
                    </a14:imgEffect>
                  </a14:imgLayer>
                </a14:imgProps>
              </a:ext>
            </a:extLst>
          </a:blip>
          <a:srcRect l="388" r="388"/>
          <a:stretch/>
        </p:blipFill>
        <p:spPr>
          <a:xfrm>
            <a:off x="-1" y="0"/>
            <a:ext cx="12192001"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9993560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MPLEXITY AND CONFLICT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F13AC1-0540-2CBE-579B-FACE7E5BD765}"/>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latin typeface="TT Commons" panose="02000506040000020004" pitchFamily="2" charset="77"/>
            </a:endParaRPr>
          </a:p>
        </p:txBody>
      </p:sp>
      <p:pic>
        <p:nvPicPr>
          <p:cNvPr id="2" name="Picture 1">
            <a:extLst>
              <a:ext uri="{FF2B5EF4-FFF2-40B4-BE49-F238E27FC236}">
                <a16:creationId xmlns:a16="http://schemas.microsoft.com/office/drawing/2014/main" id="{55CDFD82-8B5C-1EBF-8300-2CECE20EBCAC}"/>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64000"/>
                    </a14:imgEffect>
                  </a14:imgLayer>
                </a14:imgProps>
              </a:ext>
            </a:extLst>
          </a:blip>
          <a:srcRect l="388" r="388"/>
          <a:stretch/>
        </p:blipFill>
        <p:spPr>
          <a:xfrm>
            <a:off x="-1" y="0"/>
            <a:ext cx="12192001" cy="6858000"/>
          </a:xfrm>
          <a:prstGeom prst="rect">
            <a:avLst/>
          </a:prstGeom>
        </p:spPr>
      </p:pic>
    </p:spTree>
    <p:extLst>
      <p:ext uri="{BB962C8B-B14F-4D97-AF65-F5344CB8AC3E}">
        <p14:creationId xmlns:p14="http://schemas.microsoft.com/office/powerpoint/2010/main" val="156528697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KAHO Basic Slide (green)">
    <p:spTree>
      <p:nvGrpSpPr>
        <p:cNvPr id="1" name=""/>
        <p:cNvGrpSpPr/>
        <p:nvPr/>
      </p:nvGrpSpPr>
      <p:grpSpPr>
        <a:xfrm>
          <a:off x="0" y="0"/>
          <a:ext cx="0" cy="0"/>
          <a:chOff x="0" y="0"/>
          <a:chExt cx="0" cy="0"/>
        </a:xfrm>
      </p:grpSpPr>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alphaModFix amt="78000"/>
            <a:extLst>
              <a:ext uri="{28A0092B-C50C-407E-A947-70E740481C1C}">
                <a14:useLocalDpi xmlns:a14="http://schemas.microsoft.com/office/drawing/2010/main"/>
              </a:ext>
            </a:extLst>
          </a:blip>
          <a:srcRect t="46312" r="-493"/>
          <a:stretch>
            <a:fillRect/>
          </a:stretch>
        </p:blipFill>
        <p:spPr>
          <a:xfrm>
            <a:off x="8816907" y="0"/>
            <a:ext cx="3375093" cy="1583144"/>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114006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QUESTION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51000"/>
                    </a14:imgEffect>
                    <a14:imgEffect>
                      <a14:brightnessContrast bright="-23000" contrast="-26000"/>
                    </a14:imgEffect>
                  </a14:imgLayer>
                </a14:imgProps>
              </a:ext>
            </a:extLst>
          </a:blip>
          <a:srcRect t="7812" b="7812"/>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6F47807-432A-75C5-B992-A7369F014A6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2754785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ntent-Basic_2">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2475666"/>
            <a:ext cx="11253288" cy="3762872"/>
          </a:xfrm>
          <a:prstGeom prst="rect">
            <a:avLst/>
          </a:prstGeom>
        </p:spPr>
        <p:txBody>
          <a:bodyPr/>
          <a:lstStyle>
            <a:lvl1pPr marL="228600" indent="-228600">
              <a:buSzPct val="100000"/>
              <a:buFontTx/>
              <a:buBlip>
                <a:blip r:embed="rId3"/>
              </a:buBlip>
              <a:defRPr sz="1800" b="0" i="0"/>
            </a:lvl1pPr>
            <a:lvl2pPr marL="685800" indent="-228600">
              <a:buFontTx/>
              <a:buBlip>
                <a:blip r:embed="rId4"/>
              </a:buBlip>
              <a:defRPr sz="1800" b="0" i="0"/>
            </a:lvl2pPr>
            <a:lvl3pPr marL="1143000" indent="-228600">
              <a:buClr>
                <a:schemeClr val="accent1"/>
              </a:buClr>
              <a:buFont typeface="Wingdings" pitchFamily="2" charset="2"/>
              <a:buChar char="§"/>
              <a:defRPr sz="1400" b="0" i="0"/>
            </a:lvl3pPr>
            <a:lvl4pPr>
              <a:defRPr sz="1400" b="0" i="0"/>
            </a:lvl4pPr>
            <a:lvl5pPr>
              <a:buClr>
                <a:schemeClr val="accent1"/>
              </a:buCl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Tree>
    <p:extLst>
      <p:ext uri="{BB962C8B-B14F-4D97-AF65-F5344CB8AC3E}">
        <p14:creationId xmlns:p14="http://schemas.microsoft.com/office/powerpoint/2010/main" val="28562321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ntent-Basic_2">
    <p:bg>
      <p:bgRef idx="1001">
        <a:schemeClr val="bg2"/>
      </p:bgRef>
    </p:bg>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2475666"/>
            <a:ext cx="11253288" cy="3762872"/>
          </a:xfrm>
          <a:prstGeom prst="rect">
            <a:avLst/>
          </a:prstGeom>
        </p:spPr>
        <p:txBody>
          <a:bodyPr/>
          <a:lstStyle>
            <a:lvl1pPr marL="228600" indent="-228600">
              <a:buSzPct val="100000"/>
              <a:buFontTx/>
              <a:buBlip>
                <a:blip r:embed="rId3"/>
              </a:buBlip>
              <a:defRPr sz="1800" b="0" i="0"/>
            </a:lvl1pPr>
            <a:lvl2pPr marL="742950" indent="-285750">
              <a:buClr>
                <a:schemeClr val="tx1"/>
              </a:buClr>
              <a:buFont typeface="Arial" panose="020B0604020202020204" pitchFamily="34" charset="0"/>
              <a:buChar char="•"/>
              <a:defRPr sz="1800" b="0" i="0"/>
            </a:lvl2pPr>
            <a:lvl3pPr marL="1143000" indent="-228600">
              <a:buClr>
                <a:schemeClr val="accent1"/>
              </a:buClr>
              <a:buFont typeface="Wingdings" pitchFamily="2" charset="2"/>
              <a:buChar char="§"/>
              <a:defRPr sz="1400" b="0" i="0"/>
            </a:lvl3pPr>
            <a:lvl4pPr>
              <a:defRPr sz="1400" b="0" i="0"/>
            </a:lvl4pPr>
            <a:lvl5pPr>
              <a:buClr>
                <a:schemeClr val="accent1"/>
              </a:buCl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pic>
        <p:nvPicPr>
          <p:cNvPr id="4" name="Picture 3">
            <a:extLst>
              <a:ext uri="{FF2B5EF4-FFF2-40B4-BE49-F238E27FC236}">
                <a16:creationId xmlns:a16="http://schemas.microsoft.com/office/drawing/2014/main" id="{E2833DBF-33D1-268D-B4B1-BA1E5543F64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Tree>
    <p:extLst>
      <p:ext uri="{BB962C8B-B14F-4D97-AF65-F5344CB8AC3E}">
        <p14:creationId xmlns:p14="http://schemas.microsoft.com/office/powerpoint/2010/main" val="74836352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_2-Column">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3290370"/>
            <a:ext cx="5476239" cy="2948167"/>
          </a:xfrm>
          <a:prstGeom prst="rect">
            <a:avLst/>
          </a:prstGeom>
        </p:spPr>
        <p:txBody>
          <a:bodyPr>
            <a:normAutofit/>
          </a:bodyPr>
          <a:lstStyle>
            <a:lvl1pPr>
              <a:defRPr sz="2000" b="0" i="0"/>
            </a:lvl1pPr>
            <a:lvl2pPr>
              <a:defRPr sz="1800" b="0" i="0"/>
            </a:lvl2pPr>
            <a:lvl3pPr>
              <a:defRPr sz="1600" b="0" i="0"/>
            </a:lvl3pPr>
            <a:lvl4pPr>
              <a:defRPr sz="1400" b="0" i="0"/>
            </a:lvl4pPr>
            <a:lvl5pP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4" name="Text Placeholder 7">
            <a:extLst>
              <a:ext uri="{FF2B5EF4-FFF2-40B4-BE49-F238E27FC236}">
                <a16:creationId xmlns:a16="http://schemas.microsoft.com/office/drawing/2014/main" id="{2DDF25A2-B580-26FA-9A2F-E93EC38757C4}"/>
              </a:ext>
            </a:extLst>
          </p:cNvPr>
          <p:cNvSpPr>
            <a:spLocks noGrp="1"/>
          </p:cNvSpPr>
          <p:nvPr>
            <p:ph type="body" sz="quarter" idx="19" hasCustomPrompt="1"/>
          </p:nvPr>
        </p:nvSpPr>
        <p:spPr>
          <a:xfrm>
            <a:off x="365125" y="2465506"/>
            <a:ext cx="5486400"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6" name="Text Placeholder 7">
            <a:extLst>
              <a:ext uri="{FF2B5EF4-FFF2-40B4-BE49-F238E27FC236}">
                <a16:creationId xmlns:a16="http://schemas.microsoft.com/office/drawing/2014/main" id="{9B22E871-5D83-F461-1F4F-B7FC34A0C333}"/>
              </a:ext>
            </a:extLst>
          </p:cNvPr>
          <p:cNvSpPr>
            <a:spLocks noGrp="1"/>
          </p:cNvSpPr>
          <p:nvPr>
            <p:ph type="body" sz="quarter" idx="20" hasCustomPrompt="1"/>
          </p:nvPr>
        </p:nvSpPr>
        <p:spPr>
          <a:xfrm>
            <a:off x="6136004" y="2465506"/>
            <a:ext cx="5486400"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8" name="Content Placeholder 2">
            <a:extLst>
              <a:ext uri="{FF2B5EF4-FFF2-40B4-BE49-F238E27FC236}">
                <a16:creationId xmlns:a16="http://schemas.microsoft.com/office/drawing/2014/main" id="{ECD9E1DB-522A-9006-827C-01F3D0B4D39C}"/>
              </a:ext>
            </a:extLst>
          </p:cNvPr>
          <p:cNvSpPr>
            <a:spLocks noGrp="1"/>
          </p:cNvSpPr>
          <p:nvPr>
            <p:ph idx="21"/>
          </p:nvPr>
        </p:nvSpPr>
        <p:spPr>
          <a:xfrm>
            <a:off x="6142174" y="3290370"/>
            <a:ext cx="5476239" cy="2948167"/>
          </a:xfrm>
          <a:prstGeom prst="rect">
            <a:avLst/>
          </a:prstGeom>
        </p:spPr>
        <p:txBody>
          <a:bodyPr>
            <a:normAutofit/>
          </a:bodyPr>
          <a:lstStyle>
            <a:lvl1pPr>
              <a:defRPr sz="2000" b="0" i="0"/>
            </a:lvl1pPr>
            <a:lvl2pPr>
              <a:defRPr sz="1800" b="0" i="0"/>
            </a:lvl2pPr>
            <a:lvl3pPr>
              <a:defRPr sz="1600" b="0" i="0"/>
            </a:lvl3pPr>
            <a:lvl4pPr>
              <a:defRPr sz="1400" b="0" i="0"/>
            </a:lvl4pPr>
            <a:lvl5pP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70031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_3-Column">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3290370"/>
            <a:ext cx="3657600" cy="2948167"/>
          </a:xfrm>
          <a:prstGeom prst="rect">
            <a:avLst/>
          </a:prstGeom>
        </p:spPr>
        <p:txBody>
          <a:bodyPr>
            <a:normAutofit/>
          </a:bodyPr>
          <a:lstStyle>
            <a:lvl1pPr>
              <a:defRPr sz="2000" b="0" i="0"/>
            </a:lvl1pPr>
            <a:lvl2pPr>
              <a:defRPr sz="1800" b="0" i="0"/>
            </a:lvl2pPr>
            <a:lvl3pPr>
              <a:defRPr sz="1600" b="0" i="0"/>
            </a:lvl3pPr>
            <a:lvl4pPr>
              <a:defRPr sz="1400" b="0" i="0"/>
            </a:lvl4pPr>
            <a:lvl5pP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4" name="Text Placeholder 7">
            <a:extLst>
              <a:ext uri="{FF2B5EF4-FFF2-40B4-BE49-F238E27FC236}">
                <a16:creationId xmlns:a16="http://schemas.microsoft.com/office/drawing/2014/main" id="{2DDF25A2-B580-26FA-9A2F-E93EC38757C4}"/>
              </a:ext>
            </a:extLst>
          </p:cNvPr>
          <p:cNvSpPr>
            <a:spLocks noGrp="1"/>
          </p:cNvSpPr>
          <p:nvPr>
            <p:ph type="body" sz="quarter" idx="19" hasCustomPrompt="1"/>
          </p:nvPr>
        </p:nvSpPr>
        <p:spPr>
          <a:xfrm>
            <a:off x="365125" y="2465506"/>
            <a:ext cx="3657600"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6" name="Text Placeholder 7">
            <a:extLst>
              <a:ext uri="{FF2B5EF4-FFF2-40B4-BE49-F238E27FC236}">
                <a16:creationId xmlns:a16="http://schemas.microsoft.com/office/drawing/2014/main" id="{9B22E871-5D83-F461-1F4F-B7FC34A0C333}"/>
              </a:ext>
            </a:extLst>
          </p:cNvPr>
          <p:cNvSpPr>
            <a:spLocks noGrp="1"/>
          </p:cNvSpPr>
          <p:nvPr>
            <p:ph type="body" sz="quarter" idx="20" hasCustomPrompt="1"/>
          </p:nvPr>
        </p:nvSpPr>
        <p:spPr>
          <a:xfrm>
            <a:off x="4267200" y="2465506"/>
            <a:ext cx="3657600"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8" name="Content Placeholder 2">
            <a:extLst>
              <a:ext uri="{FF2B5EF4-FFF2-40B4-BE49-F238E27FC236}">
                <a16:creationId xmlns:a16="http://schemas.microsoft.com/office/drawing/2014/main" id="{ECD9E1DB-522A-9006-827C-01F3D0B4D39C}"/>
              </a:ext>
            </a:extLst>
          </p:cNvPr>
          <p:cNvSpPr>
            <a:spLocks noGrp="1"/>
          </p:cNvSpPr>
          <p:nvPr>
            <p:ph idx="21"/>
          </p:nvPr>
        </p:nvSpPr>
        <p:spPr>
          <a:xfrm>
            <a:off x="4267200" y="3290370"/>
            <a:ext cx="3657600" cy="2948167"/>
          </a:xfrm>
          <a:prstGeom prst="rect">
            <a:avLst/>
          </a:prstGeom>
        </p:spPr>
        <p:txBody>
          <a:bodyPr>
            <a:normAutofit/>
          </a:bodyPr>
          <a:lstStyle>
            <a:lvl1pPr>
              <a:defRPr sz="2000" b="0" i="0"/>
            </a:lvl1pPr>
            <a:lvl2pPr>
              <a:defRPr sz="1800" b="0" i="0"/>
            </a:lvl2pPr>
            <a:lvl3pPr>
              <a:defRPr sz="1600" b="0" i="0"/>
            </a:lvl3pPr>
            <a:lvl4pPr>
              <a:defRPr sz="1400" b="0" i="0"/>
            </a:lvl4pPr>
            <a:lvl5pP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a:extLst>
              <a:ext uri="{FF2B5EF4-FFF2-40B4-BE49-F238E27FC236}">
                <a16:creationId xmlns:a16="http://schemas.microsoft.com/office/drawing/2014/main" id="{02790664-71F4-7870-7E01-FEEC97F7B9FD}"/>
              </a:ext>
            </a:extLst>
          </p:cNvPr>
          <p:cNvSpPr>
            <a:spLocks noGrp="1"/>
          </p:cNvSpPr>
          <p:nvPr>
            <p:ph type="body" sz="quarter" idx="22" hasCustomPrompt="1"/>
          </p:nvPr>
        </p:nvSpPr>
        <p:spPr>
          <a:xfrm>
            <a:off x="8168640" y="2465506"/>
            <a:ext cx="3657600"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10" name="Content Placeholder 2">
            <a:extLst>
              <a:ext uri="{FF2B5EF4-FFF2-40B4-BE49-F238E27FC236}">
                <a16:creationId xmlns:a16="http://schemas.microsoft.com/office/drawing/2014/main" id="{EC0A08ED-4BD9-C85F-B1F8-7997ACA09524}"/>
              </a:ext>
            </a:extLst>
          </p:cNvPr>
          <p:cNvSpPr>
            <a:spLocks noGrp="1"/>
          </p:cNvSpPr>
          <p:nvPr>
            <p:ph idx="23"/>
          </p:nvPr>
        </p:nvSpPr>
        <p:spPr>
          <a:xfrm>
            <a:off x="8168640" y="3290370"/>
            <a:ext cx="3657600" cy="2948167"/>
          </a:xfrm>
          <a:prstGeom prst="rect">
            <a:avLst/>
          </a:prstGeom>
        </p:spPr>
        <p:txBody>
          <a:bodyPr>
            <a:normAutofit/>
          </a:bodyPr>
          <a:lstStyle>
            <a:lvl1pPr>
              <a:defRPr sz="2000" b="0" i="0"/>
            </a:lvl1pPr>
            <a:lvl2pPr>
              <a:defRPr sz="1800" b="0" i="0"/>
            </a:lvl2pPr>
            <a:lvl3pPr>
              <a:defRPr sz="1600" b="0" i="0"/>
            </a:lvl3pPr>
            <a:lvl4pPr>
              <a:defRPr sz="1400" b="0" i="0"/>
            </a:lvl4pPr>
            <a:lvl5pP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31847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Column_Stat-Icons_Green-Bars_Dark">
    <p:bg>
      <p:bgPr>
        <a:solidFill>
          <a:schemeClr val="tx2"/>
        </a:solidFill>
        <a:effectLst/>
      </p:bgPr>
    </p:bg>
    <p:spTree>
      <p:nvGrpSpPr>
        <p:cNvPr id="1" name=""/>
        <p:cNvGrpSpPr/>
        <p:nvPr/>
      </p:nvGrpSpPr>
      <p:grpSpPr>
        <a:xfrm>
          <a:off x="0" y="0"/>
          <a:ext cx="0" cy="0"/>
          <a:chOff x="0" y="0"/>
          <a:chExt cx="0" cy="0"/>
        </a:xfrm>
      </p:grpSpPr>
      <p:pic>
        <p:nvPicPr>
          <p:cNvPr id="19" name="Picture 18" descr="A black background with white dots&#10;&#10;Description automatically generated">
            <a:extLst>
              <a:ext uri="{FF2B5EF4-FFF2-40B4-BE49-F238E27FC236}">
                <a16:creationId xmlns:a16="http://schemas.microsoft.com/office/drawing/2014/main" id="{0E111689-10ED-DDE6-54B9-F4CC9CFD5E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pic>
        <p:nvPicPr>
          <p:cNvPr id="20" name="Picture 19" descr="A green stars on a black background&#10;&#10;Description automatically generated">
            <a:extLst>
              <a:ext uri="{FF2B5EF4-FFF2-40B4-BE49-F238E27FC236}">
                <a16:creationId xmlns:a16="http://schemas.microsoft.com/office/drawing/2014/main" id="{7347F71A-56FA-96D0-E264-24BE44149B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8173574"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8173574" cy="1325563"/>
          </a:xfrm>
          <a:prstGeom prst="rect">
            <a:avLst/>
          </a:prstGeom>
        </p:spPr>
        <p:txBody>
          <a:bodyPr/>
          <a:lstStyle>
            <a:lvl1pPr>
              <a:defRPr b="1" i="0">
                <a:solidFill>
                  <a:schemeClr val="bg1"/>
                </a:solidFill>
                <a:latin typeface="Tiempos Headline Semibold" panose="02020703060303060403" pitchFamily="18" charset="77"/>
              </a:defRPr>
            </a:lvl1pPr>
          </a:lstStyle>
          <a:p>
            <a:r>
              <a:rPr lang="en-US"/>
              <a:t>Click to add title</a:t>
            </a:r>
          </a:p>
        </p:txBody>
      </p:sp>
      <p:sp>
        <p:nvSpPr>
          <p:cNvPr id="12" name="Text Placeholder 7">
            <a:extLst>
              <a:ext uri="{FF2B5EF4-FFF2-40B4-BE49-F238E27FC236}">
                <a16:creationId xmlns:a16="http://schemas.microsoft.com/office/drawing/2014/main" id="{986EC309-37E0-FF5D-7A47-9206D7D4D926}"/>
              </a:ext>
            </a:extLst>
          </p:cNvPr>
          <p:cNvSpPr>
            <a:spLocks noGrp="1"/>
          </p:cNvSpPr>
          <p:nvPr>
            <p:ph type="body" sz="quarter" idx="20" hasCustomPrompt="1"/>
          </p:nvPr>
        </p:nvSpPr>
        <p:spPr>
          <a:xfrm>
            <a:off x="361461" y="3668507"/>
            <a:ext cx="3288176" cy="1325563"/>
          </a:xfrm>
        </p:spPr>
        <p:txBody>
          <a:bodyPr anchor="t">
            <a:normAutofit/>
          </a:bodyPr>
          <a:lstStyle>
            <a:lvl1pPr marL="0" indent="0">
              <a:buNone/>
              <a:defRPr sz="1800" b="0" i="0">
                <a:solidFill>
                  <a:schemeClr val="bg1"/>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31" name="Rectangle 30">
            <a:extLst>
              <a:ext uri="{FF2B5EF4-FFF2-40B4-BE49-F238E27FC236}">
                <a16:creationId xmlns:a16="http://schemas.microsoft.com/office/drawing/2014/main" id="{242EDD7B-9039-EB67-7586-793F09DE781D}"/>
              </a:ext>
            </a:extLst>
          </p:cNvPr>
          <p:cNvSpPr/>
          <p:nvPr userDrawn="1"/>
        </p:nvSpPr>
        <p:spPr>
          <a:xfrm>
            <a:off x="3992370" y="2779059"/>
            <a:ext cx="91440" cy="221501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sp>
        <p:nvSpPr>
          <p:cNvPr id="34" name="Rectangle 33">
            <a:extLst>
              <a:ext uri="{FF2B5EF4-FFF2-40B4-BE49-F238E27FC236}">
                <a16:creationId xmlns:a16="http://schemas.microsoft.com/office/drawing/2014/main" id="{4F681A2D-6D6A-56FB-0B32-206B7DF47C36}"/>
              </a:ext>
            </a:extLst>
          </p:cNvPr>
          <p:cNvSpPr>
            <a:spLocks/>
          </p:cNvSpPr>
          <p:nvPr userDrawn="1"/>
        </p:nvSpPr>
        <p:spPr>
          <a:xfrm>
            <a:off x="8080508" y="2779059"/>
            <a:ext cx="91440" cy="221501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pic>
        <p:nvPicPr>
          <p:cNvPr id="13" name="Picture 12">
            <a:extLst>
              <a:ext uri="{FF2B5EF4-FFF2-40B4-BE49-F238E27FC236}">
                <a16:creationId xmlns:a16="http://schemas.microsoft.com/office/drawing/2014/main" id="{D56A8C7C-57D6-A65D-621D-98467B569D7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
        <p:nvSpPr>
          <p:cNvPr id="14" name="Picture Placeholder 17">
            <a:extLst>
              <a:ext uri="{FF2B5EF4-FFF2-40B4-BE49-F238E27FC236}">
                <a16:creationId xmlns:a16="http://schemas.microsoft.com/office/drawing/2014/main" id="{99D1DA5D-E392-4518-0B57-A01FB0E7FEDB}"/>
              </a:ext>
            </a:extLst>
          </p:cNvPr>
          <p:cNvSpPr>
            <a:spLocks noGrp="1"/>
          </p:cNvSpPr>
          <p:nvPr>
            <p:ph type="pic" sz="quarter" idx="17"/>
          </p:nvPr>
        </p:nvSpPr>
        <p:spPr>
          <a:xfrm>
            <a:off x="1625690"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9D463102-C7F8-2AFF-95A5-60CE811DCC8E}"/>
              </a:ext>
            </a:extLst>
          </p:cNvPr>
          <p:cNvSpPr>
            <a:spLocks noGrp="1"/>
          </p:cNvSpPr>
          <p:nvPr>
            <p:ph type="body" sz="quarter" idx="27" hasCustomPrompt="1"/>
          </p:nvPr>
        </p:nvSpPr>
        <p:spPr>
          <a:xfrm>
            <a:off x="4434697" y="3668507"/>
            <a:ext cx="3288176" cy="1325563"/>
          </a:xfrm>
        </p:spPr>
        <p:txBody>
          <a:bodyPr anchor="t">
            <a:normAutofit/>
          </a:bodyPr>
          <a:lstStyle>
            <a:lvl1pPr marL="0" indent="0">
              <a:buNone/>
              <a:defRPr sz="1800" b="0" i="0">
                <a:solidFill>
                  <a:schemeClr val="bg1"/>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64DD2F46-27A5-0DC0-CC59-E8BF4CCA616F}"/>
              </a:ext>
            </a:extLst>
          </p:cNvPr>
          <p:cNvSpPr>
            <a:spLocks noGrp="1"/>
          </p:cNvSpPr>
          <p:nvPr>
            <p:ph type="pic" sz="quarter" idx="28"/>
          </p:nvPr>
        </p:nvSpPr>
        <p:spPr>
          <a:xfrm>
            <a:off x="5698926"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60D2E4F9-A4B1-D59F-94F7-322FC56FEAE2}"/>
              </a:ext>
            </a:extLst>
          </p:cNvPr>
          <p:cNvSpPr>
            <a:spLocks noGrp="1"/>
          </p:cNvSpPr>
          <p:nvPr>
            <p:ph type="body" sz="quarter" idx="29" hasCustomPrompt="1"/>
          </p:nvPr>
        </p:nvSpPr>
        <p:spPr>
          <a:xfrm>
            <a:off x="8541185" y="3668507"/>
            <a:ext cx="3288176" cy="1325563"/>
          </a:xfrm>
        </p:spPr>
        <p:txBody>
          <a:bodyPr anchor="t">
            <a:normAutofit/>
          </a:bodyPr>
          <a:lstStyle>
            <a:lvl1pPr marL="0" indent="0">
              <a:buNone/>
              <a:defRPr sz="1800" b="0" i="0">
                <a:solidFill>
                  <a:schemeClr val="bg1"/>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B34A24EB-94B6-54D0-08C6-75B277212684}"/>
              </a:ext>
            </a:extLst>
          </p:cNvPr>
          <p:cNvSpPr>
            <a:spLocks noGrp="1"/>
          </p:cNvSpPr>
          <p:nvPr>
            <p:ph type="pic" sz="quarter" idx="30"/>
          </p:nvPr>
        </p:nvSpPr>
        <p:spPr>
          <a:xfrm>
            <a:off x="9805414" y="2781653"/>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Tree>
    <p:extLst>
      <p:ext uri="{BB962C8B-B14F-4D97-AF65-F5344CB8AC3E}">
        <p14:creationId xmlns:p14="http://schemas.microsoft.com/office/powerpoint/2010/main" val="11035206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1CC1B-2AD0-C254-53B1-9FEDCAB06D48}"/>
              </a:ext>
            </a:extLst>
          </p:cNvPr>
          <p:cNvSpPr>
            <a:spLocks/>
          </p:cNvSpPr>
          <p:nvPr userDrawn="1"/>
        </p:nvSpPr>
        <p:spPr>
          <a:xfrm>
            <a:off x="0" y="-1"/>
            <a:ext cx="12193524" cy="617294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sp>
        <p:nvSpPr>
          <p:cNvPr id="11" name="Picture Placeholder 10">
            <a:extLst>
              <a:ext uri="{FF2B5EF4-FFF2-40B4-BE49-F238E27FC236}">
                <a16:creationId xmlns:a16="http://schemas.microsoft.com/office/drawing/2014/main" id="{EFC23991-F3B8-75F0-DD83-14444B2CB1A7}"/>
              </a:ext>
            </a:extLst>
          </p:cNvPr>
          <p:cNvSpPr>
            <a:spLocks noGrp="1"/>
          </p:cNvSpPr>
          <p:nvPr>
            <p:ph type="pic" sz="quarter" idx="10" hasCustomPrompt="1"/>
          </p:nvPr>
        </p:nvSpPr>
        <p:spPr>
          <a:xfrm>
            <a:off x="0" y="-1"/>
            <a:ext cx="12192000" cy="6183578"/>
          </a:xfrm>
          <a:prstGeom prst="rect">
            <a:avLst/>
          </a:prstGeom>
        </p:spPr>
        <p:txBody>
          <a:bodyPr>
            <a:normAutofit/>
          </a:bodyPr>
          <a:lstStyle>
            <a:lvl1pPr marL="0" indent="0">
              <a:buNone/>
              <a:defRPr sz="1800" b="0" i="0">
                <a:solidFill>
                  <a:schemeClr val="bg2"/>
                </a:solidFill>
              </a:defRPr>
            </a:lvl1pPr>
          </a:lstStyle>
          <a:p>
            <a:r>
              <a:rPr lang="en-US"/>
              <a:t>Click to add image</a:t>
            </a:r>
          </a:p>
        </p:txBody>
      </p:sp>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214438"/>
            <a:ext cx="5730240" cy="2387600"/>
          </a:xfrm>
          <a:prstGeom prst="rect">
            <a:avLst/>
          </a:prstGeom>
          <a:solidFill>
            <a:schemeClr val="tx2">
              <a:alpha val="65000"/>
            </a:schemeClr>
          </a:solidFill>
        </p:spPr>
        <p:txBody>
          <a:bodyPr anchor="b"/>
          <a:lstStyle>
            <a:lvl1pPr algn="l">
              <a:defRPr sz="60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602038"/>
            <a:ext cx="5730240" cy="874269"/>
          </a:xfrm>
          <a:prstGeom prst="rect">
            <a:avLst/>
          </a:prstGeom>
          <a:solidFill>
            <a:schemeClr val="tx2">
              <a:alpha val="65000"/>
            </a:schemeClr>
          </a:solidFill>
        </p:spPr>
        <p:txBody>
          <a:bodyPr>
            <a:normAutofit/>
          </a:bodyPr>
          <a:lstStyle>
            <a:lvl1pPr marL="0" indent="0" algn="l">
              <a:buNone/>
              <a:defRPr sz="20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892871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Column_Stat-Icons_No-Bars_Dark">
    <p:bg>
      <p:bgPr>
        <a:solidFill>
          <a:schemeClr val="tx2"/>
        </a:solidFill>
        <a:effectLst/>
      </p:bgPr>
    </p:bg>
    <p:spTree>
      <p:nvGrpSpPr>
        <p:cNvPr id="1" name=""/>
        <p:cNvGrpSpPr/>
        <p:nvPr/>
      </p:nvGrpSpPr>
      <p:grpSpPr>
        <a:xfrm>
          <a:off x="0" y="0"/>
          <a:ext cx="0" cy="0"/>
          <a:chOff x="0" y="0"/>
          <a:chExt cx="0" cy="0"/>
        </a:xfrm>
      </p:grpSpPr>
      <p:pic>
        <p:nvPicPr>
          <p:cNvPr id="19" name="Picture 18" descr="A black background with white dots&#10;&#10;Description automatically generated">
            <a:extLst>
              <a:ext uri="{FF2B5EF4-FFF2-40B4-BE49-F238E27FC236}">
                <a16:creationId xmlns:a16="http://schemas.microsoft.com/office/drawing/2014/main" id="{0E111689-10ED-DDE6-54B9-F4CC9CFD5E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pic>
        <p:nvPicPr>
          <p:cNvPr id="20" name="Picture 19" descr="A green stars on a black background&#10;&#10;Description automatically generated">
            <a:extLst>
              <a:ext uri="{FF2B5EF4-FFF2-40B4-BE49-F238E27FC236}">
                <a16:creationId xmlns:a16="http://schemas.microsoft.com/office/drawing/2014/main" id="{7347F71A-56FA-96D0-E264-24BE44149B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8173574"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8173574" cy="1325563"/>
          </a:xfrm>
          <a:prstGeom prst="rect">
            <a:avLst/>
          </a:prstGeom>
        </p:spPr>
        <p:txBody>
          <a:bodyPr/>
          <a:lstStyle>
            <a:lvl1pPr>
              <a:defRPr b="1" i="0">
                <a:solidFill>
                  <a:schemeClr val="bg1"/>
                </a:solidFill>
                <a:latin typeface="Tiempos Headline Semibold" panose="02020703060303060403" pitchFamily="18" charset="77"/>
              </a:defRPr>
            </a:lvl1pPr>
          </a:lstStyle>
          <a:p>
            <a:r>
              <a:rPr lang="en-US"/>
              <a:t>Click to add title</a:t>
            </a:r>
          </a:p>
        </p:txBody>
      </p:sp>
      <p:sp>
        <p:nvSpPr>
          <p:cNvPr id="12" name="Text Placeholder 7">
            <a:extLst>
              <a:ext uri="{FF2B5EF4-FFF2-40B4-BE49-F238E27FC236}">
                <a16:creationId xmlns:a16="http://schemas.microsoft.com/office/drawing/2014/main" id="{986EC309-37E0-FF5D-7A47-9206D7D4D926}"/>
              </a:ext>
            </a:extLst>
          </p:cNvPr>
          <p:cNvSpPr>
            <a:spLocks noGrp="1"/>
          </p:cNvSpPr>
          <p:nvPr>
            <p:ph type="body" sz="quarter" idx="20" hasCustomPrompt="1"/>
          </p:nvPr>
        </p:nvSpPr>
        <p:spPr>
          <a:xfrm>
            <a:off x="361461" y="3668507"/>
            <a:ext cx="3288176" cy="1325563"/>
          </a:xfrm>
        </p:spPr>
        <p:txBody>
          <a:bodyPr anchor="t">
            <a:normAutofit/>
          </a:bodyPr>
          <a:lstStyle>
            <a:lvl1pPr marL="0" indent="0">
              <a:buNone/>
              <a:defRPr sz="1800" b="0" i="0">
                <a:solidFill>
                  <a:schemeClr val="bg1"/>
                </a:solidFill>
                <a:latin typeface="TT Commons Pro Light" panose="020B0103030102020204" pitchFamily="34" charset="77"/>
                <a:cs typeface="Arial" panose="020B0604020202020204" pitchFamily="34" charset="0"/>
              </a:defRPr>
            </a:lvl1pPr>
          </a:lstStyle>
          <a:p>
            <a:pPr lvl="0"/>
            <a:r>
              <a:rPr lang="en-US"/>
              <a:t>Click to add text</a:t>
            </a:r>
          </a:p>
        </p:txBody>
      </p:sp>
      <p:pic>
        <p:nvPicPr>
          <p:cNvPr id="13" name="Picture 12">
            <a:extLst>
              <a:ext uri="{FF2B5EF4-FFF2-40B4-BE49-F238E27FC236}">
                <a16:creationId xmlns:a16="http://schemas.microsoft.com/office/drawing/2014/main" id="{D56A8C7C-57D6-A65D-621D-98467B569D7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
        <p:nvSpPr>
          <p:cNvPr id="14" name="Picture Placeholder 17">
            <a:extLst>
              <a:ext uri="{FF2B5EF4-FFF2-40B4-BE49-F238E27FC236}">
                <a16:creationId xmlns:a16="http://schemas.microsoft.com/office/drawing/2014/main" id="{99D1DA5D-E392-4518-0B57-A01FB0E7FEDB}"/>
              </a:ext>
            </a:extLst>
          </p:cNvPr>
          <p:cNvSpPr>
            <a:spLocks noGrp="1"/>
          </p:cNvSpPr>
          <p:nvPr>
            <p:ph type="pic" sz="quarter" idx="17"/>
          </p:nvPr>
        </p:nvSpPr>
        <p:spPr>
          <a:xfrm>
            <a:off x="1625690"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9D463102-C7F8-2AFF-95A5-60CE811DCC8E}"/>
              </a:ext>
            </a:extLst>
          </p:cNvPr>
          <p:cNvSpPr>
            <a:spLocks noGrp="1"/>
          </p:cNvSpPr>
          <p:nvPr>
            <p:ph type="body" sz="quarter" idx="27" hasCustomPrompt="1"/>
          </p:nvPr>
        </p:nvSpPr>
        <p:spPr>
          <a:xfrm>
            <a:off x="4434697" y="3668507"/>
            <a:ext cx="3288176" cy="1325563"/>
          </a:xfrm>
        </p:spPr>
        <p:txBody>
          <a:bodyPr anchor="t">
            <a:normAutofit/>
          </a:bodyPr>
          <a:lstStyle>
            <a:lvl1pPr marL="0" indent="0">
              <a:buNone/>
              <a:defRPr sz="1800" b="0" i="0">
                <a:solidFill>
                  <a:schemeClr val="bg1"/>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64DD2F46-27A5-0DC0-CC59-E8BF4CCA616F}"/>
              </a:ext>
            </a:extLst>
          </p:cNvPr>
          <p:cNvSpPr>
            <a:spLocks noGrp="1"/>
          </p:cNvSpPr>
          <p:nvPr>
            <p:ph type="pic" sz="quarter" idx="28"/>
          </p:nvPr>
        </p:nvSpPr>
        <p:spPr>
          <a:xfrm>
            <a:off x="5698926"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60D2E4F9-A4B1-D59F-94F7-322FC56FEAE2}"/>
              </a:ext>
            </a:extLst>
          </p:cNvPr>
          <p:cNvSpPr>
            <a:spLocks noGrp="1"/>
          </p:cNvSpPr>
          <p:nvPr>
            <p:ph type="body" sz="quarter" idx="29" hasCustomPrompt="1"/>
          </p:nvPr>
        </p:nvSpPr>
        <p:spPr>
          <a:xfrm>
            <a:off x="8541185" y="3668507"/>
            <a:ext cx="3288176" cy="1325563"/>
          </a:xfrm>
        </p:spPr>
        <p:txBody>
          <a:bodyPr anchor="t">
            <a:normAutofit/>
          </a:bodyPr>
          <a:lstStyle>
            <a:lvl1pPr marL="0" indent="0">
              <a:buNone/>
              <a:defRPr sz="1800" b="0" i="0">
                <a:solidFill>
                  <a:schemeClr val="bg1"/>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B34A24EB-94B6-54D0-08C6-75B277212684}"/>
              </a:ext>
            </a:extLst>
          </p:cNvPr>
          <p:cNvSpPr>
            <a:spLocks noGrp="1"/>
          </p:cNvSpPr>
          <p:nvPr>
            <p:ph type="pic" sz="quarter" idx="30"/>
          </p:nvPr>
        </p:nvSpPr>
        <p:spPr>
          <a:xfrm>
            <a:off x="9805414" y="2781653"/>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Tree>
    <p:extLst>
      <p:ext uri="{BB962C8B-B14F-4D97-AF65-F5344CB8AC3E}">
        <p14:creationId xmlns:p14="http://schemas.microsoft.com/office/powerpoint/2010/main" val="31167800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Column_Stat-Icons_Green-Bars">
    <p:bg>
      <p:bgRef idx="1001">
        <a:schemeClr val="bg1"/>
      </p:bgRef>
    </p:bg>
    <p:spTree>
      <p:nvGrpSpPr>
        <p:cNvPr id="1" name=""/>
        <p:cNvGrpSpPr/>
        <p:nvPr/>
      </p:nvGrpSpPr>
      <p:grpSpPr>
        <a:xfrm>
          <a:off x="0" y="0"/>
          <a:ext cx="0" cy="0"/>
          <a:chOff x="0" y="0"/>
          <a:chExt cx="0" cy="0"/>
        </a:xfrm>
      </p:grpSpPr>
      <p:pic>
        <p:nvPicPr>
          <p:cNvPr id="19" name="Picture 18" descr="A black background with white dots&#10;&#10;Description automatically generated">
            <a:extLst>
              <a:ext uri="{FF2B5EF4-FFF2-40B4-BE49-F238E27FC236}">
                <a16:creationId xmlns:a16="http://schemas.microsoft.com/office/drawing/2014/main" id="{0E111689-10ED-DDE6-54B9-F4CC9CFD5E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pic>
        <p:nvPicPr>
          <p:cNvPr id="20" name="Picture 19" descr="A green stars on a black background&#10;&#10;Description automatically generated">
            <a:extLst>
              <a:ext uri="{FF2B5EF4-FFF2-40B4-BE49-F238E27FC236}">
                <a16:creationId xmlns:a16="http://schemas.microsoft.com/office/drawing/2014/main" id="{7347F71A-56FA-96D0-E264-24BE44149B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8173574"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8173574" cy="1325563"/>
          </a:xfrm>
          <a:prstGeom prst="rect">
            <a:avLst/>
          </a:prstGeom>
        </p:spPr>
        <p:txBody>
          <a:bodyPr/>
          <a:lstStyle>
            <a:lvl1pPr>
              <a:defRPr b="1" i="0">
                <a:solidFill>
                  <a:schemeClr val="tx2"/>
                </a:solidFill>
                <a:latin typeface="Tiempos Headline Semibold" panose="02020703060303060403" pitchFamily="18" charset="77"/>
              </a:defRPr>
            </a:lvl1pPr>
          </a:lstStyle>
          <a:p>
            <a:r>
              <a:rPr lang="en-US"/>
              <a:t>Click to add title</a:t>
            </a:r>
          </a:p>
        </p:txBody>
      </p:sp>
      <p:sp>
        <p:nvSpPr>
          <p:cNvPr id="12" name="Text Placeholder 7">
            <a:extLst>
              <a:ext uri="{FF2B5EF4-FFF2-40B4-BE49-F238E27FC236}">
                <a16:creationId xmlns:a16="http://schemas.microsoft.com/office/drawing/2014/main" id="{986EC309-37E0-FF5D-7A47-9206D7D4D926}"/>
              </a:ext>
            </a:extLst>
          </p:cNvPr>
          <p:cNvSpPr>
            <a:spLocks noGrp="1"/>
          </p:cNvSpPr>
          <p:nvPr>
            <p:ph type="body" sz="quarter" idx="20" hasCustomPrompt="1"/>
          </p:nvPr>
        </p:nvSpPr>
        <p:spPr>
          <a:xfrm>
            <a:off x="361461" y="3668507"/>
            <a:ext cx="3288176" cy="1325563"/>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31" name="Rectangle 30">
            <a:extLst>
              <a:ext uri="{FF2B5EF4-FFF2-40B4-BE49-F238E27FC236}">
                <a16:creationId xmlns:a16="http://schemas.microsoft.com/office/drawing/2014/main" id="{242EDD7B-9039-EB67-7586-793F09DE781D}"/>
              </a:ext>
            </a:extLst>
          </p:cNvPr>
          <p:cNvSpPr/>
          <p:nvPr userDrawn="1"/>
        </p:nvSpPr>
        <p:spPr>
          <a:xfrm>
            <a:off x="3992370" y="2779059"/>
            <a:ext cx="91440" cy="221501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sp>
        <p:nvSpPr>
          <p:cNvPr id="34" name="Rectangle 33">
            <a:extLst>
              <a:ext uri="{FF2B5EF4-FFF2-40B4-BE49-F238E27FC236}">
                <a16:creationId xmlns:a16="http://schemas.microsoft.com/office/drawing/2014/main" id="{4F681A2D-6D6A-56FB-0B32-206B7DF47C36}"/>
              </a:ext>
            </a:extLst>
          </p:cNvPr>
          <p:cNvSpPr>
            <a:spLocks/>
          </p:cNvSpPr>
          <p:nvPr userDrawn="1"/>
        </p:nvSpPr>
        <p:spPr>
          <a:xfrm>
            <a:off x="8080508" y="2779059"/>
            <a:ext cx="91440" cy="221501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sp>
        <p:nvSpPr>
          <p:cNvPr id="14" name="Picture Placeholder 17">
            <a:extLst>
              <a:ext uri="{FF2B5EF4-FFF2-40B4-BE49-F238E27FC236}">
                <a16:creationId xmlns:a16="http://schemas.microsoft.com/office/drawing/2014/main" id="{99D1DA5D-E392-4518-0B57-A01FB0E7FEDB}"/>
              </a:ext>
            </a:extLst>
          </p:cNvPr>
          <p:cNvSpPr>
            <a:spLocks noGrp="1"/>
          </p:cNvSpPr>
          <p:nvPr>
            <p:ph type="pic" sz="quarter" idx="17"/>
          </p:nvPr>
        </p:nvSpPr>
        <p:spPr>
          <a:xfrm>
            <a:off x="1625690"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9D463102-C7F8-2AFF-95A5-60CE811DCC8E}"/>
              </a:ext>
            </a:extLst>
          </p:cNvPr>
          <p:cNvSpPr>
            <a:spLocks noGrp="1"/>
          </p:cNvSpPr>
          <p:nvPr>
            <p:ph type="body" sz="quarter" idx="27" hasCustomPrompt="1"/>
          </p:nvPr>
        </p:nvSpPr>
        <p:spPr>
          <a:xfrm>
            <a:off x="4434697" y="3668507"/>
            <a:ext cx="3288176" cy="1325563"/>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64DD2F46-27A5-0DC0-CC59-E8BF4CCA616F}"/>
              </a:ext>
            </a:extLst>
          </p:cNvPr>
          <p:cNvSpPr>
            <a:spLocks noGrp="1"/>
          </p:cNvSpPr>
          <p:nvPr>
            <p:ph type="pic" sz="quarter" idx="28"/>
          </p:nvPr>
        </p:nvSpPr>
        <p:spPr>
          <a:xfrm>
            <a:off x="5698926"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60D2E4F9-A4B1-D59F-94F7-322FC56FEAE2}"/>
              </a:ext>
            </a:extLst>
          </p:cNvPr>
          <p:cNvSpPr>
            <a:spLocks noGrp="1"/>
          </p:cNvSpPr>
          <p:nvPr>
            <p:ph type="body" sz="quarter" idx="29" hasCustomPrompt="1"/>
          </p:nvPr>
        </p:nvSpPr>
        <p:spPr>
          <a:xfrm>
            <a:off x="8541185" y="3668507"/>
            <a:ext cx="3288176" cy="1325563"/>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B34A24EB-94B6-54D0-08C6-75B277212684}"/>
              </a:ext>
            </a:extLst>
          </p:cNvPr>
          <p:cNvSpPr>
            <a:spLocks noGrp="1"/>
          </p:cNvSpPr>
          <p:nvPr>
            <p:ph type="pic" sz="quarter" idx="30"/>
          </p:nvPr>
        </p:nvSpPr>
        <p:spPr>
          <a:xfrm>
            <a:off x="9805414" y="2781653"/>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Tree>
    <p:extLst>
      <p:ext uri="{BB962C8B-B14F-4D97-AF65-F5344CB8AC3E}">
        <p14:creationId xmlns:p14="http://schemas.microsoft.com/office/powerpoint/2010/main" val="159584669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Column_Stat-Icons_No-Bars">
    <p:bg>
      <p:bgRef idx="1001">
        <a:schemeClr val="bg1"/>
      </p:bgRef>
    </p:bg>
    <p:spTree>
      <p:nvGrpSpPr>
        <p:cNvPr id="1" name=""/>
        <p:cNvGrpSpPr/>
        <p:nvPr/>
      </p:nvGrpSpPr>
      <p:grpSpPr>
        <a:xfrm>
          <a:off x="0" y="0"/>
          <a:ext cx="0" cy="0"/>
          <a:chOff x="0" y="0"/>
          <a:chExt cx="0" cy="0"/>
        </a:xfrm>
      </p:grpSpPr>
      <p:pic>
        <p:nvPicPr>
          <p:cNvPr id="19" name="Picture 18" descr="A black background with white dots&#10;&#10;Description automatically generated">
            <a:extLst>
              <a:ext uri="{FF2B5EF4-FFF2-40B4-BE49-F238E27FC236}">
                <a16:creationId xmlns:a16="http://schemas.microsoft.com/office/drawing/2014/main" id="{0E111689-10ED-DDE6-54B9-F4CC9CFD5E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pic>
        <p:nvPicPr>
          <p:cNvPr id="20" name="Picture 19" descr="A green stars on a black background&#10;&#10;Description automatically generated">
            <a:extLst>
              <a:ext uri="{FF2B5EF4-FFF2-40B4-BE49-F238E27FC236}">
                <a16:creationId xmlns:a16="http://schemas.microsoft.com/office/drawing/2014/main" id="{7347F71A-56FA-96D0-E264-24BE44149B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8173574"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8173574" cy="1325563"/>
          </a:xfrm>
          <a:prstGeom prst="rect">
            <a:avLst/>
          </a:prstGeom>
        </p:spPr>
        <p:txBody>
          <a:bodyPr/>
          <a:lstStyle>
            <a:lvl1pPr>
              <a:defRPr b="1" i="0">
                <a:solidFill>
                  <a:schemeClr val="tx2"/>
                </a:solidFill>
                <a:latin typeface="Tiempos Headline Semibold" panose="02020703060303060403" pitchFamily="18" charset="77"/>
              </a:defRPr>
            </a:lvl1pPr>
          </a:lstStyle>
          <a:p>
            <a:r>
              <a:rPr lang="en-US"/>
              <a:t>Click to add title</a:t>
            </a:r>
          </a:p>
        </p:txBody>
      </p:sp>
      <p:sp>
        <p:nvSpPr>
          <p:cNvPr id="12" name="Text Placeholder 7">
            <a:extLst>
              <a:ext uri="{FF2B5EF4-FFF2-40B4-BE49-F238E27FC236}">
                <a16:creationId xmlns:a16="http://schemas.microsoft.com/office/drawing/2014/main" id="{986EC309-37E0-FF5D-7A47-9206D7D4D926}"/>
              </a:ext>
            </a:extLst>
          </p:cNvPr>
          <p:cNvSpPr>
            <a:spLocks noGrp="1"/>
          </p:cNvSpPr>
          <p:nvPr>
            <p:ph type="body" sz="quarter" idx="20" hasCustomPrompt="1"/>
          </p:nvPr>
        </p:nvSpPr>
        <p:spPr>
          <a:xfrm>
            <a:off x="361461" y="3668507"/>
            <a:ext cx="3288176" cy="1325563"/>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4" name="Picture Placeholder 17">
            <a:extLst>
              <a:ext uri="{FF2B5EF4-FFF2-40B4-BE49-F238E27FC236}">
                <a16:creationId xmlns:a16="http://schemas.microsoft.com/office/drawing/2014/main" id="{99D1DA5D-E392-4518-0B57-A01FB0E7FEDB}"/>
              </a:ext>
            </a:extLst>
          </p:cNvPr>
          <p:cNvSpPr>
            <a:spLocks noGrp="1"/>
          </p:cNvSpPr>
          <p:nvPr>
            <p:ph type="pic" sz="quarter" idx="17"/>
          </p:nvPr>
        </p:nvSpPr>
        <p:spPr>
          <a:xfrm>
            <a:off x="1625690"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9D463102-C7F8-2AFF-95A5-60CE811DCC8E}"/>
              </a:ext>
            </a:extLst>
          </p:cNvPr>
          <p:cNvSpPr>
            <a:spLocks noGrp="1"/>
          </p:cNvSpPr>
          <p:nvPr>
            <p:ph type="body" sz="quarter" idx="27" hasCustomPrompt="1"/>
          </p:nvPr>
        </p:nvSpPr>
        <p:spPr>
          <a:xfrm>
            <a:off x="4434697" y="3668507"/>
            <a:ext cx="3288176" cy="1325563"/>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64DD2F46-27A5-0DC0-CC59-E8BF4CCA616F}"/>
              </a:ext>
            </a:extLst>
          </p:cNvPr>
          <p:cNvSpPr>
            <a:spLocks noGrp="1"/>
          </p:cNvSpPr>
          <p:nvPr>
            <p:ph type="pic" sz="quarter" idx="28"/>
          </p:nvPr>
        </p:nvSpPr>
        <p:spPr>
          <a:xfrm>
            <a:off x="5698926"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60D2E4F9-A4B1-D59F-94F7-322FC56FEAE2}"/>
              </a:ext>
            </a:extLst>
          </p:cNvPr>
          <p:cNvSpPr>
            <a:spLocks noGrp="1"/>
          </p:cNvSpPr>
          <p:nvPr>
            <p:ph type="body" sz="quarter" idx="29" hasCustomPrompt="1"/>
          </p:nvPr>
        </p:nvSpPr>
        <p:spPr>
          <a:xfrm>
            <a:off x="8541185" y="3668507"/>
            <a:ext cx="3288176" cy="1325563"/>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B34A24EB-94B6-54D0-08C6-75B277212684}"/>
              </a:ext>
            </a:extLst>
          </p:cNvPr>
          <p:cNvSpPr>
            <a:spLocks noGrp="1"/>
          </p:cNvSpPr>
          <p:nvPr>
            <p:ph type="pic" sz="quarter" idx="30"/>
          </p:nvPr>
        </p:nvSpPr>
        <p:spPr>
          <a:xfrm>
            <a:off x="9805414" y="2781653"/>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Tree>
    <p:extLst>
      <p:ext uri="{BB962C8B-B14F-4D97-AF65-F5344CB8AC3E}">
        <p14:creationId xmlns:p14="http://schemas.microsoft.com/office/powerpoint/2010/main" val="36928911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Up_Icons">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b="14488"/>
          <a:stretch/>
        </p:blipFill>
        <p:spPr>
          <a:xfrm>
            <a:off x="8876338" y="-1932"/>
            <a:ext cx="3358526" cy="25215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3" name="Text Placeholder 7">
            <a:extLst>
              <a:ext uri="{FF2B5EF4-FFF2-40B4-BE49-F238E27FC236}">
                <a16:creationId xmlns:a16="http://schemas.microsoft.com/office/drawing/2014/main" id="{DD87AC56-4F62-189B-67C9-BC3E5047DFAD}"/>
              </a:ext>
            </a:extLst>
          </p:cNvPr>
          <p:cNvSpPr>
            <a:spLocks noGrp="1"/>
          </p:cNvSpPr>
          <p:nvPr>
            <p:ph type="body" sz="quarter" idx="20" hasCustomPrompt="1"/>
          </p:nvPr>
        </p:nvSpPr>
        <p:spPr>
          <a:xfrm>
            <a:off x="361461" y="338836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5" name="Picture Placeholder 17">
            <a:extLst>
              <a:ext uri="{FF2B5EF4-FFF2-40B4-BE49-F238E27FC236}">
                <a16:creationId xmlns:a16="http://schemas.microsoft.com/office/drawing/2014/main" id="{42FE090A-15F0-5A83-B0D0-B9E543D51223}"/>
              </a:ext>
            </a:extLst>
          </p:cNvPr>
          <p:cNvSpPr>
            <a:spLocks noGrp="1" noChangeAspect="1"/>
          </p:cNvSpPr>
          <p:nvPr>
            <p:ph type="pic" sz="quarter" idx="17"/>
          </p:nvPr>
        </p:nvSpPr>
        <p:spPr>
          <a:xfrm>
            <a:off x="1708369"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5" name="Text Placeholder 7">
            <a:extLst>
              <a:ext uri="{FF2B5EF4-FFF2-40B4-BE49-F238E27FC236}">
                <a16:creationId xmlns:a16="http://schemas.microsoft.com/office/drawing/2014/main" id="{9DE74D30-05E5-EF6A-DC4B-F4E59185F29A}"/>
              </a:ext>
            </a:extLst>
          </p:cNvPr>
          <p:cNvSpPr>
            <a:spLocks noGrp="1"/>
          </p:cNvSpPr>
          <p:nvPr>
            <p:ph type="body" sz="quarter" idx="31" hasCustomPrompt="1"/>
          </p:nvPr>
        </p:nvSpPr>
        <p:spPr>
          <a:xfrm>
            <a:off x="4451912" y="338836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6" name="Picture Placeholder 17">
            <a:extLst>
              <a:ext uri="{FF2B5EF4-FFF2-40B4-BE49-F238E27FC236}">
                <a16:creationId xmlns:a16="http://schemas.microsoft.com/office/drawing/2014/main" id="{6C2831F2-0D2B-7C8D-ABF4-9AFAFF66E9CD}"/>
              </a:ext>
            </a:extLst>
          </p:cNvPr>
          <p:cNvSpPr>
            <a:spLocks noGrp="1" noChangeAspect="1"/>
          </p:cNvSpPr>
          <p:nvPr>
            <p:ph type="pic" sz="quarter" idx="32"/>
          </p:nvPr>
        </p:nvSpPr>
        <p:spPr>
          <a:xfrm>
            <a:off x="5798820"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41431E49-D76F-8716-EA34-B37D51EBD1F3}"/>
              </a:ext>
            </a:extLst>
          </p:cNvPr>
          <p:cNvSpPr>
            <a:spLocks noGrp="1"/>
          </p:cNvSpPr>
          <p:nvPr>
            <p:ph type="body" sz="quarter" idx="33" hasCustomPrompt="1"/>
          </p:nvPr>
        </p:nvSpPr>
        <p:spPr>
          <a:xfrm>
            <a:off x="8542363" y="338836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850935AB-9446-75F0-C125-8F019F9A0BCC}"/>
              </a:ext>
            </a:extLst>
          </p:cNvPr>
          <p:cNvSpPr>
            <a:spLocks noGrp="1" noChangeAspect="1"/>
          </p:cNvSpPr>
          <p:nvPr>
            <p:ph type="pic" sz="quarter" idx="34"/>
          </p:nvPr>
        </p:nvSpPr>
        <p:spPr>
          <a:xfrm>
            <a:off x="9889271"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9" name="Text Placeholder 7">
            <a:extLst>
              <a:ext uri="{FF2B5EF4-FFF2-40B4-BE49-F238E27FC236}">
                <a16:creationId xmlns:a16="http://schemas.microsoft.com/office/drawing/2014/main" id="{24D0998C-5420-C950-A2A4-BEB2D3C1A9F0}"/>
              </a:ext>
            </a:extLst>
          </p:cNvPr>
          <p:cNvSpPr>
            <a:spLocks noGrp="1"/>
          </p:cNvSpPr>
          <p:nvPr>
            <p:ph type="body" sz="quarter" idx="35" hasCustomPrompt="1"/>
          </p:nvPr>
        </p:nvSpPr>
        <p:spPr>
          <a:xfrm>
            <a:off x="361461" y="527812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0" name="Picture Placeholder 17">
            <a:extLst>
              <a:ext uri="{FF2B5EF4-FFF2-40B4-BE49-F238E27FC236}">
                <a16:creationId xmlns:a16="http://schemas.microsoft.com/office/drawing/2014/main" id="{DA8B2A9B-A54B-9A0F-2ADB-D6DAED74A4EF}"/>
              </a:ext>
            </a:extLst>
          </p:cNvPr>
          <p:cNvSpPr>
            <a:spLocks noGrp="1" noChangeAspect="1"/>
          </p:cNvSpPr>
          <p:nvPr>
            <p:ph type="pic" sz="quarter" idx="36"/>
          </p:nvPr>
        </p:nvSpPr>
        <p:spPr>
          <a:xfrm>
            <a:off x="1708369"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7816CE32-3646-1271-3338-A4EB437451A9}"/>
              </a:ext>
            </a:extLst>
          </p:cNvPr>
          <p:cNvSpPr>
            <a:spLocks noGrp="1"/>
          </p:cNvSpPr>
          <p:nvPr>
            <p:ph type="body" sz="quarter" idx="37" hasCustomPrompt="1"/>
          </p:nvPr>
        </p:nvSpPr>
        <p:spPr>
          <a:xfrm>
            <a:off x="4451912" y="527812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3368AEE2-5D3D-BA00-EF8E-DEDAA4160E25}"/>
              </a:ext>
            </a:extLst>
          </p:cNvPr>
          <p:cNvSpPr>
            <a:spLocks noGrp="1" noChangeAspect="1"/>
          </p:cNvSpPr>
          <p:nvPr>
            <p:ph type="pic" sz="quarter" idx="38"/>
          </p:nvPr>
        </p:nvSpPr>
        <p:spPr>
          <a:xfrm>
            <a:off x="5798820"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3" name="Text Placeholder 7">
            <a:extLst>
              <a:ext uri="{FF2B5EF4-FFF2-40B4-BE49-F238E27FC236}">
                <a16:creationId xmlns:a16="http://schemas.microsoft.com/office/drawing/2014/main" id="{B9B898D1-E999-AE34-9794-4DBCDF322FF3}"/>
              </a:ext>
            </a:extLst>
          </p:cNvPr>
          <p:cNvSpPr>
            <a:spLocks noGrp="1"/>
          </p:cNvSpPr>
          <p:nvPr>
            <p:ph type="body" sz="quarter" idx="39" hasCustomPrompt="1"/>
          </p:nvPr>
        </p:nvSpPr>
        <p:spPr>
          <a:xfrm>
            <a:off x="8542363" y="527812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4" name="Picture Placeholder 17">
            <a:extLst>
              <a:ext uri="{FF2B5EF4-FFF2-40B4-BE49-F238E27FC236}">
                <a16:creationId xmlns:a16="http://schemas.microsoft.com/office/drawing/2014/main" id="{66220ACE-5F47-0870-55C5-2ADB56C9149E}"/>
              </a:ext>
            </a:extLst>
          </p:cNvPr>
          <p:cNvSpPr>
            <a:spLocks noGrp="1" noChangeAspect="1"/>
          </p:cNvSpPr>
          <p:nvPr>
            <p:ph type="pic" sz="quarter" idx="40"/>
          </p:nvPr>
        </p:nvSpPr>
        <p:spPr>
          <a:xfrm>
            <a:off x="9889271"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cxnSp>
        <p:nvCxnSpPr>
          <p:cNvPr id="26" name="Straight Connector 25">
            <a:extLst>
              <a:ext uri="{FF2B5EF4-FFF2-40B4-BE49-F238E27FC236}">
                <a16:creationId xmlns:a16="http://schemas.microsoft.com/office/drawing/2014/main" id="{E0E1CE8C-A55D-DF62-BC4E-86CF95A005F4}"/>
              </a:ext>
            </a:extLst>
          </p:cNvPr>
          <p:cNvCxnSpPr>
            <a:cxnSpLocks/>
          </p:cNvCxnSpPr>
          <p:nvPr userDrawn="1"/>
        </p:nvCxnSpPr>
        <p:spPr>
          <a:xfrm>
            <a:off x="361461" y="4338345"/>
            <a:ext cx="11469078" cy="0"/>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862ACD0-B1F3-C1AD-9D63-9D3F862E9BE1}"/>
              </a:ext>
            </a:extLst>
          </p:cNvPr>
          <p:cNvCxnSpPr>
            <a:cxnSpLocks/>
          </p:cNvCxnSpPr>
          <p:nvPr userDrawn="1"/>
        </p:nvCxnSpPr>
        <p:spPr>
          <a:xfrm>
            <a:off x="4047587" y="2558222"/>
            <a:ext cx="0" cy="3560247"/>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C8E46A08-9046-9A94-41D9-AD7A20EFE8EB}"/>
              </a:ext>
            </a:extLst>
          </p:cNvPr>
          <p:cNvCxnSpPr>
            <a:cxnSpLocks/>
          </p:cNvCxnSpPr>
          <p:nvPr userDrawn="1"/>
        </p:nvCxnSpPr>
        <p:spPr>
          <a:xfrm>
            <a:off x="8142067" y="2558222"/>
            <a:ext cx="0" cy="3560247"/>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611423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6-Up_Icons_Dark">
    <p:bg>
      <p:bgRef idx="1001">
        <a:schemeClr val="bg2"/>
      </p:bgRef>
    </p:bg>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b="14488"/>
          <a:stretch/>
        </p:blipFill>
        <p:spPr>
          <a:xfrm>
            <a:off x="8876338" y="-1932"/>
            <a:ext cx="3358526" cy="25215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3" name="Text Placeholder 7">
            <a:extLst>
              <a:ext uri="{FF2B5EF4-FFF2-40B4-BE49-F238E27FC236}">
                <a16:creationId xmlns:a16="http://schemas.microsoft.com/office/drawing/2014/main" id="{DD87AC56-4F62-189B-67C9-BC3E5047DFAD}"/>
              </a:ext>
            </a:extLst>
          </p:cNvPr>
          <p:cNvSpPr>
            <a:spLocks noGrp="1"/>
          </p:cNvSpPr>
          <p:nvPr>
            <p:ph type="body" sz="quarter" idx="20" hasCustomPrompt="1"/>
          </p:nvPr>
        </p:nvSpPr>
        <p:spPr>
          <a:xfrm>
            <a:off x="361461" y="338836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5" name="Picture Placeholder 17">
            <a:extLst>
              <a:ext uri="{FF2B5EF4-FFF2-40B4-BE49-F238E27FC236}">
                <a16:creationId xmlns:a16="http://schemas.microsoft.com/office/drawing/2014/main" id="{42FE090A-15F0-5A83-B0D0-B9E543D51223}"/>
              </a:ext>
            </a:extLst>
          </p:cNvPr>
          <p:cNvSpPr>
            <a:spLocks noGrp="1" noChangeAspect="1"/>
          </p:cNvSpPr>
          <p:nvPr>
            <p:ph type="pic" sz="quarter" idx="17"/>
          </p:nvPr>
        </p:nvSpPr>
        <p:spPr>
          <a:xfrm>
            <a:off x="1708369"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5" name="Text Placeholder 7">
            <a:extLst>
              <a:ext uri="{FF2B5EF4-FFF2-40B4-BE49-F238E27FC236}">
                <a16:creationId xmlns:a16="http://schemas.microsoft.com/office/drawing/2014/main" id="{9DE74D30-05E5-EF6A-DC4B-F4E59185F29A}"/>
              </a:ext>
            </a:extLst>
          </p:cNvPr>
          <p:cNvSpPr>
            <a:spLocks noGrp="1"/>
          </p:cNvSpPr>
          <p:nvPr>
            <p:ph type="body" sz="quarter" idx="31" hasCustomPrompt="1"/>
          </p:nvPr>
        </p:nvSpPr>
        <p:spPr>
          <a:xfrm>
            <a:off x="4451912" y="338836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6" name="Picture Placeholder 17">
            <a:extLst>
              <a:ext uri="{FF2B5EF4-FFF2-40B4-BE49-F238E27FC236}">
                <a16:creationId xmlns:a16="http://schemas.microsoft.com/office/drawing/2014/main" id="{6C2831F2-0D2B-7C8D-ABF4-9AFAFF66E9CD}"/>
              </a:ext>
            </a:extLst>
          </p:cNvPr>
          <p:cNvSpPr>
            <a:spLocks noGrp="1" noChangeAspect="1"/>
          </p:cNvSpPr>
          <p:nvPr>
            <p:ph type="pic" sz="quarter" idx="32"/>
          </p:nvPr>
        </p:nvSpPr>
        <p:spPr>
          <a:xfrm>
            <a:off x="5798820"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41431E49-D76F-8716-EA34-B37D51EBD1F3}"/>
              </a:ext>
            </a:extLst>
          </p:cNvPr>
          <p:cNvSpPr>
            <a:spLocks noGrp="1"/>
          </p:cNvSpPr>
          <p:nvPr>
            <p:ph type="body" sz="quarter" idx="33" hasCustomPrompt="1"/>
          </p:nvPr>
        </p:nvSpPr>
        <p:spPr>
          <a:xfrm>
            <a:off x="8542363" y="338836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850935AB-9446-75F0-C125-8F019F9A0BCC}"/>
              </a:ext>
            </a:extLst>
          </p:cNvPr>
          <p:cNvSpPr>
            <a:spLocks noGrp="1" noChangeAspect="1"/>
          </p:cNvSpPr>
          <p:nvPr>
            <p:ph type="pic" sz="quarter" idx="34"/>
          </p:nvPr>
        </p:nvSpPr>
        <p:spPr>
          <a:xfrm>
            <a:off x="9889271"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9" name="Text Placeholder 7">
            <a:extLst>
              <a:ext uri="{FF2B5EF4-FFF2-40B4-BE49-F238E27FC236}">
                <a16:creationId xmlns:a16="http://schemas.microsoft.com/office/drawing/2014/main" id="{24D0998C-5420-C950-A2A4-BEB2D3C1A9F0}"/>
              </a:ext>
            </a:extLst>
          </p:cNvPr>
          <p:cNvSpPr>
            <a:spLocks noGrp="1"/>
          </p:cNvSpPr>
          <p:nvPr>
            <p:ph type="body" sz="quarter" idx="35" hasCustomPrompt="1"/>
          </p:nvPr>
        </p:nvSpPr>
        <p:spPr>
          <a:xfrm>
            <a:off x="361461" y="527812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0" name="Picture Placeholder 17">
            <a:extLst>
              <a:ext uri="{FF2B5EF4-FFF2-40B4-BE49-F238E27FC236}">
                <a16:creationId xmlns:a16="http://schemas.microsoft.com/office/drawing/2014/main" id="{DA8B2A9B-A54B-9A0F-2ADB-D6DAED74A4EF}"/>
              </a:ext>
            </a:extLst>
          </p:cNvPr>
          <p:cNvSpPr>
            <a:spLocks noGrp="1" noChangeAspect="1"/>
          </p:cNvSpPr>
          <p:nvPr>
            <p:ph type="pic" sz="quarter" idx="36"/>
          </p:nvPr>
        </p:nvSpPr>
        <p:spPr>
          <a:xfrm>
            <a:off x="1708369"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7816CE32-3646-1271-3338-A4EB437451A9}"/>
              </a:ext>
            </a:extLst>
          </p:cNvPr>
          <p:cNvSpPr>
            <a:spLocks noGrp="1"/>
          </p:cNvSpPr>
          <p:nvPr>
            <p:ph type="body" sz="quarter" idx="37" hasCustomPrompt="1"/>
          </p:nvPr>
        </p:nvSpPr>
        <p:spPr>
          <a:xfrm>
            <a:off x="4451912" y="527812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3368AEE2-5D3D-BA00-EF8E-DEDAA4160E25}"/>
              </a:ext>
            </a:extLst>
          </p:cNvPr>
          <p:cNvSpPr>
            <a:spLocks noGrp="1" noChangeAspect="1"/>
          </p:cNvSpPr>
          <p:nvPr>
            <p:ph type="pic" sz="quarter" idx="38"/>
          </p:nvPr>
        </p:nvSpPr>
        <p:spPr>
          <a:xfrm>
            <a:off x="5798820"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3" name="Text Placeholder 7">
            <a:extLst>
              <a:ext uri="{FF2B5EF4-FFF2-40B4-BE49-F238E27FC236}">
                <a16:creationId xmlns:a16="http://schemas.microsoft.com/office/drawing/2014/main" id="{B9B898D1-E999-AE34-9794-4DBCDF322FF3}"/>
              </a:ext>
            </a:extLst>
          </p:cNvPr>
          <p:cNvSpPr>
            <a:spLocks noGrp="1"/>
          </p:cNvSpPr>
          <p:nvPr>
            <p:ph type="body" sz="quarter" idx="39" hasCustomPrompt="1"/>
          </p:nvPr>
        </p:nvSpPr>
        <p:spPr>
          <a:xfrm>
            <a:off x="8542363" y="527812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4" name="Picture Placeholder 17">
            <a:extLst>
              <a:ext uri="{FF2B5EF4-FFF2-40B4-BE49-F238E27FC236}">
                <a16:creationId xmlns:a16="http://schemas.microsoft.com/office/drawing/2014/main" id="{66220ACE-5F47-0870-55C5-2ADB56C9149E}"/>
              </a:ext>
            </a:extLst>
          </p:cNvPr>
          <p:cNvSpPr>
            <a:spLocks noGrp="1" noChangeAspect="1"/>
          </p:cNvSpPr>
          <p:nvPr>
            <p:ph type="pic" sz="quarter" idx="40"/>
          </p:nvPr>
        </p:nvSpPr>
        <p:spPr>
          <a:xfrm>
            <a:off x="9889271"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cxnSp>
        <p:nvCxnSpPr>
          <p:cNvPr id="26" name="Straight Connector 25">
            <a:extLst>
              <a:ext uri="{FF2B5EF4-FFF2-40B4-BE49-F238E27FC236}">
                <a16:creationId xmlns:a16="http://schemas.microsoft.com/office/drawing/2014/main" id="{E0E1CE8C-A55D-DF62-BC4E-86CF95A005F4}"/>
              </a:ext>
            </a:extLst>
          </p:cNvPr>
          <p:cNvCxnSpPr>
            <a:cxnSpLocks/>
          </p:cNvCxnSpPr>
          <p:nvPr userDrawn="1"/>
        </p:nvCxnSpPr>
        <p:spPr>
          <a:xfrm>
            <a:off x="361461" y="4338345"/>
            <a:ext cx="11469078"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862ACD0-B1F3-C1AD-9D63-9D3F862E9BE1}"/>
              </a:ext>
            </a:extLst>
          </p:cNvPr>
          <p:cNvCxnSpPr>
            <a:cxnSpLocks/>
          </p:cNvCxnSpPr>
          <p:nvPr userDrawn="1"/>
        </p:nvCxnSpPr>
        <p:spPr>
          <a:xfrm>
            <a:off x="4047587" y="2558222"/>
            <a:ext cx="0" cy="356024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C8E46A08-9046-9A94-41D9-AD7A20EFE8EB}"/>
              </a:ext>
            </a:extLst>
          </p:cNvPr>
          <p:cNvCxnSpPr>
            <a:cxnSpLocks/>
          </p:cNvCxnSpPr>
          <p:nvPr userDrawn="1"/>
        </p:nvCxnSpPr>
        <p:spPr>
          <a:xfrm>
            <a:off x="8142067" y="2558222"/>
            <a:ext cx="0" cy="356024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2A4BBE03-AF00-960F-C061-15ABE26F2F5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Tree>
    <p:extLst>
      <p:ext uri="{BB962C8B-B14F-4D97-AF65-F5344CB8AC3E}">
        <p14:creationId xmlns:p14="http://schemas.microsoft.com/office/powerpoint/2010/main" val="2402056574"/>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Up_Icons">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3" name="Text Placeholder 7">
            <a:extLst>
              <a:ext uri="{FF2B5EF4-FFF2-40B4-BE49-F238E27FC236}">
                <a16:creationId xmlns:a16="http://schemas.microsoft.com/office/drawing/2014/main" id="{DD87AC56-4F62-189B-67C9-BC3E5047DFAD}"/>
              </a:ext>
            </a:extLst>
          </p:cNvPr>
          <p:cNvSpPr>
            <a:spLocks noGrp="1"/>
          </p:cNvSpPr>
          <p:nvPr>
            <p:ph type="body" sz="quarter" idx="20" hasCustomPrompt="1"/>
          </p:nvPr>
        </p:nvSpPr>
        <p:spPr>
          <a:xfrm>
            <a:off x="2389433" y="338836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5" name="Picture Placeholder 17">
            <a:extLst>
              <a:ext uri="{FF2B5EF4-FFF2-40B4-BE49-F238E27FC236}">
                <a16:creationId xmlns:a16="http://schemas.microsoft.com/office/drawing/2014/main" id="{42FE090A-15F0-5A83-B0D0-B9E543D51223}"/>
              </a:ext>
            </a:extLst>
          </p:cNvPr>
          <p:cNvSpPr>
            <a:spLocks noGrp="1" noChangeAspect="1"/>
          </p:cNvSpPr>
          <p:nvPr>
            <p:ph type="pic" sz="quarter" idx="17"/>
          </p:nvPr>
        </p:nvSpPr>
        <p:spPr>
          <a:xfrm>
            <a:off x="3736341"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5" name="Text Placeholder 7">
            <a:extLst>
              <a:ext uri="{FF2B5EF4-FFF2-40B4-BE49-F238E27FC236}">
                <a16:creationId xmlns:a16="http://schemas.microsoft.com/office/drawing/2014/main" id="{9DE74D30-05E5-EF6A-DC4B-F4E59185F29A}"/>
              </a:ext>
            </a:extLst>
          </p:cNvPr>
          <p:cNvSpPr>
            <a:spLocks noGrp="1"/>
          </p:cNvSpPr>
          <p:nvPr>
            <p:ph type="body" sz="quarter" idx="31" hasCustomPrompt="1"/>
          </p:nvPr>
        </p:nvSpPr>
        <p:spPr>
          <a:xfrm>
            <a:off x="6514392" y="338836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6" name="Picture Placeholder 17">
            <a:extLst>
              <a:ext uri="{FF2B5EF4-FFF2-40B4-BE49-F238E27FC236}">
                <a16:creationId xmlns:a16="http://schemas.microsoft.com/office/drawing/2014/main" id="{6C2831F2-0D2B-7C8D-ABF4-9AFAFF66E9CD}"/>
              </a:ext>
            </a:extLst>
          </p:cNvPr>
          <p:cNvSpPr>
            <a:spLocks noGrp="1" noChangeAspect="1"/>
          </p:cNvSpPr>
          <p:nvPr>
            <p:ph type="pic" sz="quarter" idx="32"/>
          </p:nvPr>
        </p:nvSpPr>
        <p:spPr>
          <a:xfrm>
            <a:off x="7861300"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9" name="Text Placeholder 7">
            <a:extLst>
              <a:ext uri="{FF2B5EF4-FFF2-40B4-BE49-F238E27FC236}">
                <a16:creationId xmlns:a16="http://schemas.microsoft.com/office/drawing/2014/main" id="{24D0998C-5420-C950-A2A4-BEB2D3C1A9F0}"/>
              </a:ext>
            </a:extLst>
          </p:cNvPr>
          <p:cNvSpPr>
            <a:spLocks noGrp="1"/>
          </p:cNvSpPr>
          <p:nvPr>
            <p:ph type="body" sz="quarter" idx="35" hasCustomPrompt="1"/>
          </p:nvPr>
        </p:nvSpPr>
        <p:spPr>
          <a:xfrm>
            <a:off x="2389433" y="527812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0" name="Picture Placeholder 17">
            <a:extLst>
              <a:ext uri="{FF2B5EF4-FFF2-40B4-BE49-F238E27FC236}">
                <a16:creationId xmlns:a16="http://schemas.microsoft.com/office/drawing/2014/main" id="{DA8B2A9B-A54B-9A0F-2ADB-D6DAED74A4EF}"/>
              </a:ext>
            </a:extLst>
          </p:cNvPr>
          <p:cNvSpPr>
            <a:spLocks noGrp="1" noChangeAspect="1"/>
          </p:cNvSpPr>
          <p:nvPr>
            <p:ph type="pic" sz="quarter" idx="36"/>
          </p:nvPr>
        </p:nvSpPr>
        <p:spPr>
          <a:xfrm>
            <a:off x="3736341"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7816CE32-3646-1271-3338-A4EB437451A9}"/>
              </a:ext>
            </a:extLst>
          </p:cNvPr>
          <p:cNvSpPr>
            <a:spLocks noGrp="1"/>
          </p:cNvSpPr>
          <p:nvPr>
            <p:ph type="body" sz="quarter" idx="37" hasCustomPrompt="1"/>
          </p:nvPr>
        </p:nvSpPr>
        <p:spPr>
          <a:xfrm>
            <a:off x="6514392" y="5278120"/>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3368AEE2-5D3D-BA00-EF8E-DEDAA4160E25}"/>
              </a:ext>
            </a:extLst>
          </p:cNvPr>
          <p:cNvSpPr>
            <a:spLocks noGrp="1" noChangeAspect="1"/>
          </p:cNvSpPr>
          <p:nvPr>
            <p:ph type="pic" sz="quarter" idx="38"/>
          </p:nvPr>
        </p:nvSpPr>
        <p:spPr>
          <a:xfrm>
            <a:off x="7861300"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cxnSp>
        <p:nvCxnSpPr>
          <p:cNvPr id="26" name="Straight Connector 25">
            <a:extLst>
              <a:ext uri="{FF2B5EF4-FFF2-40B4-BE49-F238E27FC236}">
                <a16:creationId xmlns:a16="http://schemas.microsoft.com/office/drawing/2014/main" id="{E0E1CE8C-A55D-DF62-BC4E-86CF95A005F4}"/>
              </a:ext>
            </a:extLst>
          </p:cNvPr>
          <p:cNvCxnSpPr>
            <a:cxnSpLocks/>
          </p:cNvCxnSpPr>
          <p:nvPr userDrawn="1"/>
        </p:nvCxnSpPr>
        <p:spPr>
          <a:xfrm>
            <a:off x="2271677" y="4338345"/>
            <a:ext cx="7648647" cy="0"/>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862ACD0-B1F3-C1AD-9D63-9D3F862E9BE1}"/>
              </a:ext>
            </a:extLst>
          </p:cNvPr>
          <p:cNvCxnSpPr>
            <a:cxnSpLocks/>
          </p:cNvCxnSpPr>
          <p:nvPr userDrawn="1"/>
        </p:nvCxnSpPr>
        <p:spPr>
          <a:xfrm>
            <a:off x="6096000" y="2558222"/>
            <a:ext cx="0" cy="3560247"/>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40467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Up_Icons">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3" name="Text Placeholder 7">
            <a:extLst>
              <a:ext uri="{FF2B5EF4-FFF2-40B4-BE49-F238E27FC236}">
                <a16:creationId xmlns:a16="http://schemas.microsoft.com/office/drawing/2014/main" id="{DD87AC56-4F62-189B-67C9-BC3E5047DFAD}"/>
              </a:ext>
            </a:extLst>
          </p:cNvPr>
          <p:cNvSpPr>
            <a:spLocks noGrp="1"/>
          </p:cNvSpPr>
          <p:nvPr>
            <p:ph type="body" sz="quarter" idx="20" hasCustomPrompt="1"/>
          </p:nvPr>
        </p:nvSpPr>
        <p:spPr>
          <a:xfrm>
            <a:off x="2389433" y="3866785"/>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5" name="Picture Placeholder 17">
            <a:extLst>
              <a:ext uri="{FF2B5EF4-FFF2-40B4-BE49-F238E27FC236}">
                <a16:creationId xmlns:a16="http://schemas.microsoft.com/office/drawing/2014/main" id="{42FE090A-15F0-5A83-B0D0-B9E543D51223}"/>
              </a:ext>
            </a:extLst>
          </p:cNvPr>
          <p:cNvSpPr>
            <a:spLocks noGrp="1" noChangeAspect="1"/>
          </p:cNvSpPr>
          <p:nvPr>
            <p:ph type="pic" sz="quarter" idx="17"/>
          </p:nvPr>
        </p:nvSpPr>
        <p:spPr>
          <a:xfrm>
            <a:off x="3736341" y="3107767"/>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5" name="Text Placeholder 7">
            <a:extLst>
              <a:ext uri="{FF2B5EF4-FFF2-40B4-BE49-F238E27FC236}">
                <a16:creationId xmlns:a16="http://schemas.microsoft.com/office/drawing/2014/main" id="{9DE74D30-05E5-EF6A-DC4B-F4E59185F29A}"/>
              </a:ext>
            </a:extLst>
          </p:cNvPr>
          <p:cNvSpPr>
            <a:spLocks noGrp="1"/>
          </p:cNvSpPr>
          <p:nvPr>
            <p:ph type="body" sz="quarter" idx="31" hasCustomPrompt="1"/>
          </p:nvPr>
        </p:nvSpPr>
        <p:spPr>
          <a:xfrm>
            <a:off x="6514392" y="3866785"/>
            <a:ext cx="3288176" cy="759718"/>
          </a:xfrm>
        </p:spPr>
        <p:txBody>
          <a:bodyPr anchor="t">
            <a:normAutofit/>
          </a:bodyPr>
          <a:lstStyle>
            <a:lvl1pPr marL="0" indent="0">
              <a:buNone/>
              <a:defRPr sz="1800" b="0" i="0">
                <a:solidFill>
                  <a:schemeClr val="tx2"/>
                </a:solidFill>
                <a:latin typeface="TT Commons Pro Light" panose="020B0103030102020204" pitchFamily="34" charset="77"/>
                <a:cs typeface="Arial" panose="020B0604020202020204" pitchFamily="34" charset="0"/>
              </a:defRPr>
            </a:lvl1pPr>
          </a:lstStyle>
          <a:p>
            <a:pPr lvl="0"/>
            <a:r>
              <a:rPr lang="en-US"/>
              <a:t>Click to add text</a:t>
            </a:r>
          </a:p>
        </p:txBody>
      </p:sp>
      <p:sp>
        <p:nvSpPr>
          <p:cNvPr id="16" name="Picture Placeholder 17">
            <a:extLst>
              <a:ext uri="{FF2B5EF4-FFF2-40B4-BE49-F238E27FC236}">
                <a16:creationId xmlns:a16="http://schemas.microsoft.com/office/drawing/2014/main" id="{6C2831F2-0D2B-7C8D-ABF4-9AFAFF66E9CD}"/>
              </a:ext>
            </a:extLst>
          </p:cNvPr>
          <p:cNvSpPr>
            <a:spLocks noGrp="1" noChangeAspect="1"/>
          </p:cNvSpPr>
          <p:nvPr>
            <p:ph type="pic" sz="quarter" idx="32"/>
          </p:nvPr>
        </p:nvSpPr>
        <p:spPr>
          <a:xfrm>
            <a:off x="7861300" y="3107767"/>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cxnSp>
        <p:nvCxnSpPr>
          <p:cNvPr id="27" name="Straight Connector 26">
            <a:extLst>
              <a:ext uri="{FF2B5EF4-FFF2-40B4-BE49-F238E27FC236}">
                <a16:creationId xmlns:a16="http://schemas.microsoft.com/office/drawing/2014/main" id="{E862ACD0-B1F3-C1AD-9D63-9D3F862E9BE1}"/>
              </a:ext>
            </a:extLst>
          </p:cNvPr>
          <p:cNvCxnSpPr>
            <a:cxnSpLocks/>
          </p:cNvCxnSpPr>
          <p:nvPr userDrawn="1"/>
        </p:nvCxnSpPr>
        <p:spPr>
          <a:xfrm>
            <a:off x="6096000" y="2946855"/>
            <a:ext cx="0" cy="2051865"/>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316303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681997" y="1681843"/>
            <a:ext cx="8281035" cy="2432957"/>
          </a:xfrm>
          <a:prstGeom prst="rect">
            <a:avLst/>
          </a:prstGeom>
        </p:spPr>
        <p:txBody>
          <a:bodyPr>
            <a:normAutofit/>
          </a:bodyPr>
          <a:lstStyle>
            <a:lvl1pPr>
              <a:defRPr sz="4400" b="1" i="0">
                <a:solidFill>
                  <a:schemeClr val="bg1"/>
                </a:solidFill>
                <a:latin typeface="Tiempos Headline Semibold" panose="02020703060303060403" pitchFamily="18" charset="77"/>
              </a:defRPr>
            </a:lvl1pPr>
          </a:lstStyle>
          <a:p>
            <a:r>
              <a:rPr lang="en-US"/>
              <a:t>Click to add a quote, the length of which should be approximately three to four lines of text</a:t>
            </a:r>
          </a:p>
        </p:txBody>
      </p:sp>
      <p:pic>
        <p:nvPicPr>
          <p:cNvPr id="8" name="Picture 7">
            <a:extLst>
              <a:ext uri="{FF2B5EF4-FFF2-40B4-BE49-F238E27FC236}">
                <a16:creationId xmlns:a16="http://schemas.microsoft.com/office/drawing/2014/main" id="{5369616A-4F10-7A23-C878-46DEA18BFD2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05538" y="543100"/>
            <a:ext cx="319173" cy="359070"/>
          </a:xfrm>
          <a:prstGeom prst="rect">
            <a:avLst/>
          </a:prstGeom>
        </p:spPr>
      </p:pic>
      <p:pic>
        <p:nvPicPr>
          <p:cNvPr id="13" name="Picture 12">
            <a:extLst>
              <a:ext uri="{FF2B5EF4-FFF2-40B4-BE49-F238E27FC236}">
                <a16:creationId xmlns:a16="http://schemas.microsoft.com/office/drawing/2014/main" id="{D56A8C7C-57D6-A65D-621D-98467B569D7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
        <p:nvSpPr>
          <p:cNvPr id="4" name="Subtitle 2">
            <a:extLst>
              <a:ext uri="{FF2B5EF4-FFF2-40B4-BE49-F238E27FC236}">
                <a16:creationId xmlns:a16="http://schemas.microsoft.com/office/drawing/2014/main" id="{DEFA0304-E8A9-9A1F-FE0B-92CB370CB164}"/>
              </a:ext>
            </a:extLst>
          </p:cNvPr>
          <p:cNvSpPr>
            <a:spLocks noGrp="1"/>
          </p:cNvSpPr>
          <p:nvPr>
            <p:ph type="subTitle" idx="1" hasCustomPrompt="1"/>
          </p:nvPr>
        </p:nvSpPr>
        <p:spPr>
          <a:xfrm>
            <a:off x="682632" y="4252975"/>
            <a:ext cx="8280400" cy="945016"/>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attribution</a:t>
            </a:r>
          </a:p>
        </p:txBody>
      </p:sp>
      <p:pic>
        <p:nvPicPr>
          <p:cNvPr id="3" name="Picture 2" descr="A black background with white dots&#10;&#10;Description automatically generated">
            <a:extLst>
              <a:ext uri="{FF2B5EF4-FFF2-40B4-BE49-F238E27FC236}">
                <a16:creationId xmlns:a16="http://schemas.microsoft.com/office/drawing/2014/main" id="{03F91449-4487-9F5B-258C-945288EF032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pic>
        <p:nvPicPr>
          <p:cNvPr id="7" name="Picture 6" descr="A green stars on a black background&#10;&#10;Description automatically generated">
            <a:extLst>
              <a:ext uri="{FF2B5EF4-FFF2-40B4-BE49-F238E27FC236}">
                <a16:creationId xmlns:a16="http://schemas.microsoft.com/office/drawing/2014/main" id="{5B595F31-0DF6-4408-737A-EA9434B82C3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Tree>
    <p:extLst>
      <p:ext uri="{BB962C8B-B14F-4D97-AF65-F5344CB8AC3E}">
        <p14:creationId xmlns:p14="http://schemas.microsoft.com/office/powerpoint/2010/main" val="36162019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Quote+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F120E55-F6C2-E7EE-DD47-CAF4E96FB868}"/>
              </a:ext>
            </a:extLst>
          </p:cNvPr>
          <p:cNvSpPr>
            <a:spLocks noGrp="1"/>
          </p:cNvSpPr>
          <p:nvPr>
            <p:ph type="pic" sz="quarter" idx="31" hasCustomPrompt="1"/>
          </p:nvPr>
        </p:nvSpPr>
        <p:spPr>
          <a:xfrm>
            <a:off x="6878824" y="-1"/>
            <a:ext cx="5313176" cy="6860407"/>
          </a:xfrm>
          <a:solidFill>
            <a:srgbClr val="FFFFFF"/>
          </a:solidFill>
        </p:spPr>
        <p:txBody>
          <a:bodyPr>
            <a:normAutofit/>
          </a:bodyPr>
          <a:lstStyle>
            <a:lvl1pPr marL="7938" indent="0">
              <a:buNone/>
              <a:defRPr sz="1400" b="0" i="0">
                <a:solidFill>
                  <a:schemeClr val="bg2"/>
                </a:solidFill>
              </a:defRPr>
            </a:lvl1pPr>
          </a:lstStyle>
          <a:p>
            <a:r>
              <a:rPr lang="en-GB"/>
              <a:t>Click icon to add imag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522989" y="-1932"/>
            <a:ext cx="2355835" cy="1683775"/>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577535" y="1015166"/>
            <a:ext cx="5518466" cy="1325563"/>
          </a:xfrm>
          <a:prstGeom prst="rect">
            <a:avLst/>
          </a:prstGeom>
        </p:spPr>
        <p:txBody>
          <a:bodyPr>
            <a:normAutofit/>
          </a:bodyPr>
          <a:lstStyle>
            <a:lvl1pPr>
              <a:defRPr sz="4400" b="1" i="0">
                <a:solidFill>
                  <a:schemeClr val="bg1"/>
                </a:solidFill>
                <a:latin typeface="Tiempos Headline Semibold" panose="02020703060303060403" pitchFamily="18" charset="77"/>
              </a:defRPr>
            </a:lvl1pPr>
          </a:lstStyle>
          <a:p>
            <a:r>
              <a:rPr lang="en-US"/>
              <a:t>Click to add a quote</a:t>
            </a:r>
          </a:p>
        </p:txBody>
      </p:sp>
      <p:pic>
        <p:nvPicPr>
          <p:cNvPr id="8" name="Picture 7">
            <a:extLst>
              <a:ext uri="{FF2B5EF4-FFF2-40B4-BE49-F238E27FC236}">
                <a16:creationId xmlns:a16="http://schemas.microsoft.com/office/drawing/2014/main" id="{5369616A-4F10-7A23-C878-46DEA18BFD2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52715" y="226656"/>
            <a:ext cx="424819" cy="477922"/>
          </a:xfrm>
          <a:prstGeom prst="rect">
            <a:avLst/>
          </a:prstGeom>
        </p:spPr>
      </p:pic>
      <p:pic>
        <p:nvPicPr>
          <p:cNvPr id="13" name="Picture 12">
            <a:extLst>
              <a:ext uri="{FF2B5EF4-FFF2-40B4-BE49-F238E27FC236}">
                <a16:creationId xmlns:a16="http://schemas.microsoft.com/office/drawing/2014/main" id="{D56A8C7C-57D6-A65D-621D-98467B569D7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
        <p:nvSpPr>
          <p:cNvPr id="4" name="Subtitle 2">
            <a:extLst>
              <a:ext uri="{FF2B5EF4-FFF2-40B4-BE49-F238E27FC236}">
                <a16:creationId xmlns:a16="http://schemas.microsoft.com/office/drawing/2014/main" id="{DEFA0304-E8A9-9A1F-FE0B-92CB370CB164}"/>
              </a:ext>
            </a:extLst>
          </p:cNvPr>
          <p:cNvSpPr>
            <a:spLocks noGrp="1"/>
          </p:cNvSpPr>
          <p:nvPr>
            <p:ph type="subTitle" idx="1" hasCustomPrompt="1"/>
          </p:nvPr>
        </p:nvSpPr>
        <p:spPr>
          <a:xfrm>
            <a:off x="578169" y="2483984"/>
            <a:ext cx="5517855" cy="945016"/>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attribution</a:t>
            </a:r>
          </a:p>
        </p:txBody>
      </p:sp>
    </p:spTree>
    <p:extLst>
      <p:ext uri="{BB962C8B-B14F-4D97-AF65-F5344CB8AC3E}">
        <p14:creationId xmlns:p14="http://schemas.microsoft.com/office/powerpoint/2010/main" val="25808232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Bios">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3" name="Text Placeholder 7">
            <a:extLst>
              <a:ext uri="{FF2B5EF4-FFF2-40B4-BE49-F238E27FC236}">
                <a16:creationId xmlns:a16="http://schemas.microsoft.com/office/drawing/2014/main" id="{DD87AC56-4F62-189B-67C9-BC3E5047DFAD}"/>
              </a:ext>
            </a:extLst>
          </p:cNvPr>
          <p:cNvSpPr>
            <a:spLocks noGrp="1"/>
          </p:cNvSpPr>
          <p:nvPr>
            <p:ph type="body" sz="quarter" idx="20" hasCustomPrompt="1"/>
          </p:nvPr>
        </p:nvSpPr>
        <p:spPr>
          <a:xfrm>
            <a:off x="361461" y="3752979"/>
            <a:ext cx="3288176" cy="395099"/>
          </a:xfrm>
        </p:spPr>
        <p:txBody>
          <a:bodyPr anchor="b">
            <a:normAutofit/>
          </a:bodyPr>
          <a:lstStyle>
            <a:lvl1pPr marL="0" indent="0">
              <a:buNone/>
              <a:defRPr sz="1800" b="1" i="0">
                <a:solidFill>
                  <a:schemeClr val="tx2"/>
                </a:solidFill>
                <a:latin typeface="Tiempos Headline Semibold" panose="02020703060303060403" pitchFamily="18" charset="77"/>
                <a:cs typeface="Times New Roman" panose="02020603050405020304" pitchFamily="18" charset="0"/>
              </a:defRPr>
            </a:lvl1pPr>
          </a:lstStyle>
          <a:p>
            <a:pPr lvl="0"/>
            <a:r>
              <a:rPr lang="en-US"/>
              <a:t>Click to add name</a:t>
            </a:r>
          </a:p>
        </p:txBody>
      </p:sp>
      <p:sp>
        <p:nvSpPr>
          <p:cNvPr id="5" name="Picture Placeholder 17">
            <a:extLst>
              <a:ext uri="{FF2B5EF4-FFF2-40B4-BE49-F238E27FC236}">
                <a16:creationId xmlns:a16="http://schemas.microsoft.com/office/drawing/2014/main" id="{42FE090A-15F0-5A83-B0D0-B9E543D51223}"/>
              </a:ext>
            </a:extLst>
          </p:cNvPr>
          <p:cNvSpPr>
            <a:spLocks noGrp="1" noChangeAspect="1"/>
          </p:cNvSpPr>
          <p:nvPr>
            <p:ph type="pic" sz="quarter" idx="17"/>
          </p:nvPr>
        </p:nvSpPr>
        <p:spPr>
          <a:xfrm>
            <a:off x="361461" y="2629342"/>
            <a:ext cx="1005840" cy="100584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4" name="Text Placeholder 7">
            <a:extLst>
              <a:ext uri="{FF2B5EF4-FFF2-40B4-BE49-F238E27FC236}">
                <a16:creationId xmlns:a16="http://schemas.microsoft.com/office/drawing/2014/main" id="{93808FE3-5458-1E43-B19E-965277E424EB}"/>
              </a:ext>
            </a:extLst>
          </p:cNvPr>
          <p:cNvSpPr>
            <a:spLocks noGrp="1"/>
          </p:cNvSpPr>
          <p:nvPr>
            <p:ph type="body" sz="quarter" idx="35" hasCustomPrompt="1"/>
          </p:nvPr>
        </p:nvSpPr>
        <p:spPr>
          <a:xfrm>
            <a:off x="361461" y="4163879"/>
            <a:ext cx="3288176" cy="395099"/>
          </a:xfrm>
        </p:spPr>
        <p:txBody>
          <a:bodyPr anchor="t">
            <a:normAutofit/>
          </a:bodyPr>
          <a:lstStyle>
            <a:lvl1pPr marL="0" indent="0">
              <a:buNone/>
              <a:defRPr sz="1400" b="0" i="0">
                <a:solidFill>
                  <a:schemeClr val="tx2"/>
                </a:solidFill>
                <a:latin typeface="TT Commons Pro Light" panose="020B0103030102020204" pitchFamily="34" charset="77"/>
                <a:cs typeface="Arial" panose="020B0604020202020204" pitchFamily="34" charset="0"/>
              </a:defRPr>
            </a:lvl1pPr>
          </a:lstStyle>
          <a:p>
            <a:pPr lvl="0"/>
            <a:r>
              <a:rPr lang="en-US"/>
              <a:t>Click to add job title</a:t>
            </a:r>
          </a:p>
        </p:txBody>
      </p:sp>
      <p:sp>
        <p:nvSpPr>
          <p:cNvPr id="6" name="Text Placeholder 7">
            <a:extLst>
              <a:ext uri="{FF2B5EF4-FFF2-40B4-BE49-F238E27FC236}">
                <a16:creationId xmlns:a16="http://schemas.microsoft.com/office/drawing/2014/main" id="{6C75927A-6938-1F5B-D0C2-69087989F643}"/>
              </a:ext>
            </a:extLst>
          </p:cNvPr>
          <p:cNvSpPr>
            <a:spLocks noGrp="1"/>
          </p:cNvSpPr>
          <p:nvPr>
            <p:ph type="body" sz="quarter" idx="36" hasCustomPrompt="1"/>
          </p:nvPr>
        </p:nvSpPr>
        <p:spPr>
          <a:xfrm>
            <a:off x="361461" y="4626141"/>
            <a:ext cx="3288176" cy="1310640"/>
          </a:xfrm>
        </p:spPr>
        <p:txBody>
          <a:bodyPr anchor="t">
            <a:normAutofit/>
          </a:bodyPr>
          <a:lstStyle>
            <a:lvl1pPr marL="0" indent="0">
              <a:buNone/>
              <a:defRPr sz="1400" b="0" i="0">
                <a:solidFill>
                  <a:schemeClr val="tx2"/>
                </a:solidFill>
                <a:latin typeface="TT Commons Pro Light" panose="020B0103030102020204" pitchFamily="34" charset="77"/>
                <a:cs typeface="Arial" panose="020B0604020202020204" pitchFamily="34" charset="0"/>
              </a:defRPr>
            </a:lvl1pPr>
          </a:lstStyle>
          <a:p>
            <a:pPr lvl="0"/>
            <a:r>
              <a:rPr lang="en-US"/>
              <a:t>Click to add bio</a:t>
            </a:r>
          </a:p>
        </p:txBody>
      </p:sp>
      <p:sp>
        <p:nvSpPr>
          <p:cNvPr id="8" name="Text Placeholder 7">
            <a:extLst>
              <a:ext uri="{FF2B5EF4-FFF2-40B4-BE49-F238E27FC236}">
                <a16:creationId xmlns:a16="http://schemas.microsoft.com/office/drawing/2014/main" id="{E161A964-95B2-0CD9-8456-6FCE0580B3F3}"/>
              </a:ext>
            </a:extLst>
          </p:cNvPr>
          <p:cNvSpPr>
            <a:spLocks noGrp="1"/>
          </p:cNvSpPr>
          <p:nvPr>
            <p:ph type="body" sz="quarter" idx="37" hasCustomPrompt="1"/>
          </p:nvPr>
        </p:nvSpPr>
        <p:spPr>
          <a:xfrm>
            <a:off x="4445781" y="3752979"/>
            <a:ext cx="3288176" cy="395099"/>
          </a:xfrm>
        </p:spPr>
        <p:txBody>
          <a:bodyPr anchor="b">
            <a:normAutofit/>
          </a:bodyPr>
          <a:lstStyle>
            <a:lvl1pPr marL="0" indent="0">
              <a:buNone/>
              <a:defRPr sz="1800" b="1" i="0">
                <a:solidFill>
                  <a:schemeClr val="tx2"/>
                </a:solidFill>
                <a:latin typeface="Tiempos Headline Semibold" panose="02020703060303060403" pitchFamily="18" charset="77"/>
                <a:cs typeface="Times New Roman" panose="02020603050405020304" pitchFamily="18" charset="0"/>
              </a:defRPr>
            </a:lvl1pPr>
          </a:lstStyle>
          <a:p>
            <a:pPr lvl="0"/>
            <a:r>
              <a:rPr lang="en-US"/>
              <a:t>Click to add name</a:t>
            </a:r>
          </a:p>
        </p:txBody>
      </p:sp>
      <p:sp>
        <p:nvSpPr>
          <p:cNvPr id="10" name="Picture Placeholder 17">
            <a:extLst>
              <a:ext uri="{FF2B5EF4-FFF2-40B4-BE49-F238E27FC236}">
                <a16:creationId xmlns:a16="http://schemas.microsoft.com/office/drawing/2014/main" id="{E270ABE2-4ACE-1403-7483-D42DC1B772D3}"/>
              </a:ext>
            </a:extLst>
          </p:cNvPr>
          <p:cNvSpPr>
            <a:spLocks noGrp="1" noChangeAspect="1"/>
          </p:cNvSpPr>
          <p:nvPr>
            <p:ph type="pic" sz="quarter" idx="38"/>
          </p:nvPr>
        </p:nvSpPr>
        <p:spPr>
          <a:xfrm>
            <a:off x="4445781" y="2629342"/>
            <a:ext cx="1005840" cy="100584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2" name="Text Placeholder 7">
            <a:extLst>
              <a:ext uri="{FF2B5EF4-FFF2-40B4-BE49-F238E27FC236}">
                <a16:creationId xmlns:a16="http://schemas.microsoft.com/office/drawing/2014/main" id="{22B6D471-CEF1-ED55-8283-F25536488BF5}"/>
              </a:ext>
            </a:extLst>
          </p:cNvPr>
          <p:cNvSpPr>
            <a:spLocks noGrp="1"/>
          </p:cNvSpPr>
          <p:nvPr>
            <p:ph type="body" sz="quarter" idx="39" hasCustomPrompt="1"/>
          </p:nvPr>
        </p:nvSpPr>
        <p:spPr>
          <a:xfrm>
            <a:off x="4445781" y="4163879"/>
            <a:ext cx="3288176" cy="395099"/>
          </a:xfrm>
        </p:spPr>
        <p:txBody>
          <a:bodyPr anchor="t">
            <a:normAutofit/>
          </a:bodyPr>
          <a:lstStyle>
            <a:lvl1pPr marL="0" indent="0">
              <a:buNone/>
              <a:defRPr sz="1400" b="0" i="0">
                <a:solidFill>
                  <a:schemeClr val="tx2"/>
                </a:solidFill>
                <a:latin typeface="TT Commons Pro Light" panose="020B0103030102020204" pitchFamily="34" charset="77"/>
                <a:cs typeface="Arial" panose="020B0604020202020204" pitchFamily="34" charset="0"/>
              </a:defRPr>
            </a:lvl1pPr>
          </a:lstStyle>
          <a:p>
            <a:pPr lvl="0"/>
            <a:r>
              <a:rPr lang="en-US"/>
              <a:t>Click to add job title</a:t>
            </a:r>
          </a:p>
        </p:txBody>
      </p:sp>
      <p:sp>
        <p:nvSpPr>
          <p:cNvPr id="13" name="Text Placeholder 7">
            <a:extLst>
              <a:ext uri="{FF2B5EF4-FFF2-40B4-BE49-F238E27FC236}">
                <a16:creationId xmlns:a16="http://schemas.microsoft.com/office/drawing/2014/main" id="{E9A6037C-0846-35FF-F92C-3632C78D06EC}"/>
              </a:ext>
            </a:extLst>
          </p:cNvPr>
          <p:cNvSpPr>
            <a:spLocks noGrp="1"/>
          </p:cNvSpPr>
          <p:nvPr>
            <p:ph type="body" sz="quarter" idx="40" hasCustomPrompt="1"/>
          </p:nvPr>
        </p:nvSpPr>
        <p:spPr>
          <a:xfrm>
            <a:off x="4445781" y="4626141"/>
            <a:ext cx="3288176" cy="1310640"/>
          </a:xfrm>
        </p:spPr>
        <p:txBody>
          <a:bodyPr anchor="t">
            <a:normAutofit/>
          </a:bodyPr>
          <a:lstStyle>
            <a:lvl1pPr marL="0" indent="0">
              <a:buNone/>
              <a:defRPr sz="1400" b="0" i="0">
                <a:solidFill>
                  <a:schemeClr val="tx2"/>
                </a:solidFill>
                <a:latin typeface="TT Commons Pro Light" panose="020B0103030102020204" pitchFamily="34" charset="77"/>
                <a:cs typeface="Arial" panose="020B0604020202020204" pitchFamily="34" charset="0"/>
              </a:defRPr>
            </a:lvl1pPr>
          </a:lstStyle>
          <a:p>
            <a:pPr lvl="0"/>
            <a:r>
              <a:rPr lang="en-US"/>
              <a:t>Click to add bio</a:t>
            </a:r>
          </a:p>
        </p:txBody>
      </p:sp>
      <p:sp>
        <p:nvSpPr>
          <p:cNvPr id="14" name="Text Placeholder 7">
            <a:extLst>
              <a:ext uri="{FF2B5EF4-FFF2-40B4-BE49-F238E27FC236}">
                <a16:creationId xmlns:a16="http://schemas.microsoft.com/office/drawing/2014/main" id="{A751BF83-B06E-533A-601C-0FA5D2794E9C}"/>
              </a:ext>
            </a:extLst>
          </p:cNvPr>
          <p:cNvSpPr>
            <a:spLocks noGrp="1"/>
          </p:cNvSpPr>
          <p:nvPr>
            <p:ph type="body" sz="quarter" idx="41" hasCustomPrompt="1"/>
          </p:nvPr>
        </p:nvSpPr>
        <p:spPr>
          <a:xfrm>
            <a:off x="8542365" y="3752979"/>
            <a:ext cx="3288176" cy="395099"/>
          </a:xfrm>
        </p:spPr>
        <p:txBody>
          <a:bodyPr anchor="b">
            <a:normAutofit/>
          </a:bodyPr>
          <a:lstStyle>
            <a:lvl1pPr marL="0" indent="0">
              <a:buNone/>
              <a:defRPr sz="1800" b="1" i="0">
                <a:solidFill>
                  <a:schemeClr val="tx2"/>
                </a:solidFill>
                <a:latin typeface="Tiempos Headline Semibold" panose="02020703060303060403" pitchFamily="18" charset="77"/>
                <a:cs typeface="Times New Roman" panose="02020603050405020304" pitchFamily="18" charset="0"/>
              </a:defRPr>
            </a:lvl1pPr>
          </a:lstStyle>
          <a:p>
            <a:pPr lvl="0"/>
            <a:r>
              <a:rPr lang="en-US"/>
              <a:t>Click to add name</a:t>
            </a:r>
          </a:p>
        </p:txBody>
      </p:sp>
      <p:sp>
        <p:nvSpPr>
          <p:cNvPr id="25" name="Picture Placeholder 17">
            <a:extLst>
              <a:ext uri="{FF2B5EF4-FFF2-40B4-BE49-F238E27FC236}">
                <a16:creationId xmlns:a16="http://schemas.microsoft.com/office/drawing/2014/main" id="{662AB546-10EB-40F8-028E-04C264F2014C}"/>
              </a:ext>
            </a:extLst>
          </p:cNvPr>
          <p:cNvSpPr>
            <a:spLocks noGrp="1" noChangeAspect="1"/>
          </p:cNvSpPr>
          <p:nvPr>
            <p:ph type="pic" sz="quarter" idx="42"/>
          </p:nvPr>
        </p:nvSpPr>
        <p:spPr>
          <a:xfrm>
            <a:off x="8542365" y="2629342"/>
            <a:ext cx="1005840" cy="100584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8" name="Text Placeholder 7">
            <a:extLst>
              <a:ext uri="{FF2B5EF4-FFF2-40B4-BE49-F238E27FC236}">
                <a16:creationId xmlns:a16="http://schemas.microsoft.com/office/drawing/2014/main" id="{6FAB3EFB-42D2-00DF-CC57-2E9F64D2F8DD}"/>
              </a:ext>
            </a:extLst>
          </p:cNvPr>
          <p:cNvSpPr>
            <a:spLocks noGrp="1"/>
          </p:cNvSpPr>
          <p:nvPr>
            <p:ph type="body" sz="quarter" idx="43" hasCustomPrompt="1"/>
          </p:nvPr>
        </p:nvSpPr>
        <p:spPr>
          <a:xfrm>
            <a:off x="8542365" y="4163879"/>
            <a:ext cx="3288176" cy="395099"/>
          </a:xfrm>
        </p:spPr>
        <p:txBody>
          <a:bodyPr anchor="t">
            <a:normAutofit/>
          </a:bodyPr>
          <a:lstStyle>
            <a:lvl1pPr marL="0" indent="0">
              <a:buNone/>
              <a:defRPr sz="1400" b="0" i="0">
                <a:solidFill>
                  <a:schemeClr val="tx2"/>
                </a:solidFill>
                <a:latin typeface="TT Commons Pro Light" panose="020B0103030102020204" pitchFamily="34" charset="77"/>
                <a:cs typeface="Arial" panose="020B0604020202020204" pitchFamily="34" charset="0"/>
              </a:defRPr>
            </a:lvl1pPr>
          </a:lstStyle>
          <a:p>
            <a:pPr lvl="0"/>
            <a:r>
              <a:rPr lang="en-US"/>
              <a:t>Click to add job title</a:t>
            </a:r>
          </a:p>
        </p:txBody>
      </p:sp>
      <p:sp>
        <p:nvSpPr>
          <p:cNvPr id="29" name="Text Placeholder 7">
            <a:extLst>
              <a:ext uri="{FF2B5EF4-FFF2-40B4-BE49-F238E27FC236}">
                <a16:creationId xmlns:a16="http://schemas.microsoft.com/office/drawing/2014/main" id="{FB80C1EF-2E2E-9DAB-B821-FE36D4ABA7B4}"/>
              </a:ext>
            </a:extLst>
          </p:cNvPr>
          <p:cNvSpPr>
            <a:spLocks noGrp="1"/>
          </p:cNvSpPr>
          <p:nvPr>
            <p:ph type="body" sz="quarter" idx="44" hasCustomPrompt="1"/>
          </p:nvPr>
        </p:nvSpPr>
        <p:spPr>
          <a:xfrm>
            <a:off x="8542365" y="4626141"/>
            <a:ext cx="3288176" cy="1310640"/>
          </a:xfrm>
        </p:spPr>
        <p:txBody>
          <a:bodyPr anchor="t">
            <a:normAutofit/>
          </a:bodyPr>
          <a:lstStyle>
            <a:lvl1pPr marL="0" indent="0">
              <a:buNone/>
              <a:defRPr sz="1400" b="0" i="0">
                <a:solidFill>
                  <a:schemeClr val="tx2"/>
                </a:solidFill>
                <a:latin typeface="TT Commons Pro Light" panose="020B0103030102020204" pitchFamily="34" charset="77"/>
                <a:cs typeface="Arial" panose="020B0604020202020204" pitchFamily="34" charset="0"/>
              </a:defRPr>
            </a:lvl1pPr>
          </a:lstStyle>
          <a:p>
            <a:pPr lvl="0"/>
            <a:r>
              <a:rPr lang="en-US"/>
              <a:t>Click to add bio</a:t>
            </a:r>
          </a:p>
        </p:txBody>
      </p:sp>
    </p:spTree>
    <p:extLst>
      <p:ext uri="{BB962C8B-B14F-4D97-AF65-F5344CB8AC3E}">
        <p14:creationId xmlns:p14="http://schemas.microsoft.com/office/powerpoint/2010/main" val="29643619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Gray">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8D35621-169F-E7B3-3D5F-AAB64A00545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pic>
        <p:nvPicPr>
          <p:cNvPr id="17" name="Picture 16">
            <a:extLst>
              <a:ext uri="{FF2B5EF4-FFF2-40B4-BE49-F238E27FC236}">
                <a16:creationId xmlns:a16="http://schemas.microsoft.com/office/drawing/2014/main" id="{E81304C3-542D-C5EB-593E-65F3066DE2FE}"/>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rcRect/>
          <a:stretch/>
        </p:blipFill>
        <p:spPr>
          <a:xfrm>
            <a:off x="110386" y="1600200"/>
            <a:ext cx="3350894" cy="2948787"/>
          </a:xfrm>
          <a:prstGeom prst="rect">
            <a:avLst/>
          </a:prstGeom>
          <a:effectLst>
            <a:outerShdw blurRad="50800" dist="50800" dir="5400000" algn="ctr" rotWithShape="0">
              <a:srgbClr val="000000">
                <a:alpha val="30000"/>
              </a:srgbClr>
            </a:outerShdw>
          </a:effectLst>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122363"/>
            <a:ext cx="9539478" cy="2387600"/>
          </a:xfrm>
          <a:prstGeom prst="rect">
            <a:avLst/>
          </a:prstGeom>
        </p:spPr>
        <p:txBody>
          <a:bodyPr anchor="b">
            <a:normAutofit/>
          </a:bodyPr>
          <a:lstStyle>
            <a:lvl1pPr algn="l">
              <a:defRPr sz="52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602038"/>
            <a:ext cx="9539478" cy="1655762"/>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240103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3E0CDEB3-604B-CF81-F9BA-C2D5D515EEAD}"/>
              </a:ext>
            </a:extLst>
          </p:cNvPr>
          <p:cNvSpPr>
            <a:spLocks noGrp="1"/>
          </p:cNvSpPr>
          <p:nvPr>
            <p:ph type="body" sz="quarter" idx="18"/>
          </p:nvPr>
        </p:nvSpPr>
        <p:spPr>
          <a:xfrm>
            <a:off x="365125" y="318631"/>
            <a:ext cx="9127218" cy="601663"/>
          </a:xfrm>
        </p:spPr>
        <p:txBody>
          <a:bodyPr/>
          <a:lstStyle>
            <a:lvl1pPr>
              <a:defRPr b="0" i="0"/>
            </a:lvl1pPr>
          </a:lstStyle>
          <a:p>
            <a:pPr lvl="0"/>
            <a:r>
              <a:rPr lang="en-US"/>
              <a:t>Click to edit Master text styles</a:t>
            </a:r>
          </a:p>
        </p:txBody>
      </p:sp>
      <p:sp>
        <p:nvSpPr>
          <p:cNvPr id="4" name="TextBox 3">
            <a:extLst>
              <a:ext uri="{FF2B5EF4-FFF2-40B4-BE49-F238E27FC236}">
                <a16:creationId xmlns:a16="http://schemas.microsoft.com/office/drawing/2014/main" id="{F4EB407A-3E60-3FA9-21B5-0F5196B2EDD7}"/>
              </a:ext>
            </a:extLst>
          </p:cNvPr>
          <p:cNvSpPr txBox="1"/>
          <p:nvPr userDrawn="1"/>
        </p:nvSpPr>
        <p:spPr>
          <a:xfrm>
            <a:off x="365125" y="1215342"/>
            <a:ext cx="4803494" cy="1938992"/>
          </a:xfrm>
          <a:prstGeom prst="rect">
            <a:avLst/>
          </a:prstGeom>
          <a:noFill/>
        </p:spPr>
        <p:txBody>
          <a:bodyPr wrap="square" rtlCol="0">
            <a:spAutoFit/>
          </a:bodyPr>
          <a:lstStyle/>
          <a:p>
            <a:r>
              <a:rPr lang="en-US" sz="6000" b="1" i="0">
                <a:solidFill>
                  <a:schemeClr val="tx2"/>
                </a:solidFill>
                <a:latin typeface="Tiempos Headline Semibold" panose="02020703060303060403" pitchFamily="18" charset="77"/>
                <a:cs typeface="Times New Roman" panose="02020603050405020304" pitchFamily="18" charset="0"/>
              </a:rPr>
              <a:t>Title 1 – 60 pt</a:t>
            </a:r>
          </a:p>
        </p:txBody>
      </p:sp>
      <p:sp>
        <p:nvSpPr>
          <p:cNvPr id="5" name="TextBox 4">
            <a:extLst>
              <a:ext uri="{FF2B5EF4-FFF2-40B4-BE49-F238E27FC236}">
                <a16:creationId xmlns:a16="http://schemas.microsoft.com/office/drawing/2014/main" id="{EC14C7F6-6057-DBFF-663D-A2CCCFDB5100}"/>
              </a:ext>
            </a:extLst>
          </p:cNvPr>
          <p:cNvSpPr txBox="1"/>
          <p:nvPr userDrawn="1"/>
        </p:nvSpPr>
        <p:spPr>
          <a:xfrm>
            <a:off x="365125" y="2476982"/>
            <a:ext cx="4803494" cy="892552"/>
          </a:xfrm>
          <a:prstGeom prst="rect">
            <a:avLst/>
          </a:prstGeom>
          <a:noFill/>
        </p:spPr>
        <p:txBody>
          <a:bodyPr wrap="square" rtlCol="0">
            <a:spAutoFit/>
          </a:bodyPr>
          <a:lstStyle/>
          <a:p>
            <a:r>
              <a:rPr lang="en-US" sz="5200" b="1" i="0">
                <a:solidFill>
                  <a:schemeClr val="tx2"/>
                </a:solidFill>
                <a:latin typeface="Tiempos Headline Semibold" panose="02020703060303060403" pitchFamily="18" charset="77"/>
                <a:cs typeface="Times New Roman" panose="02020603050405020304" pitchFamily="18" charset="0"/>
              </a:rPr>
              <a:t>Title 2 – 52 pt</a:t>
            </a:r>
          </a:p>
        </p:txBody>
      </p:sp>
      <p:sp>
        <p:nvSpPr>
          <p:cNvPr id="6" name="TextBox 5">
            <a:extLst>
              <a:ext uri="{FF2B5EF4-FFF2-40B4-BE49-F238E27FC236}">
                <a16:creationId xmlns:a16="http://schemas.microsoft.com/office/drawing/2014/main" id="{3A8FC690-CFD9-C5CD-BE5E-C205F8778430}"/>
              </a:ext>
            </a:extLst>
          </p:cNvPr>
          <p:cNvSpPr txBox="1"/>
          <p:nvPr userDrawn="1"/>
        </p:nvSpPr>
        <p:spPr>
          <a:xfrm>
            <a:off x="365125" y="3727048"/>
            <a:ext cx="4803494" cy="523220"/>
          </a:xfrm>
          <a:prstGeom prst="rect">
            <a:avLst/>
          </a:prstGeom>
          <a:noFill/>
        </p:spPr>
        <p:txBody>
          <a:bodyPr wrap="square" rtlCol="0">
            <a:spAutoFit/>
          </a:bodyPr>
          <a:lstStyle/>
          <a:p>
            <a:r>
              <a:rPr lang="en-US" sz="2800" b="1" i="0">
                <a:solidFill>
                  <a:schemeClr val="tx2"/>
                </a:solidFill>
                <a:latin typeface="Tiempos Headline Semibold" panose="02020703060303060403" pitchFamily="18" charset="77"/>
                <a:cs typeface="Times New Roman" panose="02020603050405020304" pitchFamily="18" charset="0"/>
              </a:rPr>
              <a:t>Title 3 – 28 pt</a:t>
            </a:r>
          </a:p>
        </p:txBody>
      </p:sp>
      <p:sp>
        <p:nvSpPr>
          <p:cNvPr id="7" name="TextBox 6">
            <a:extLst>
              <a:ext uri="{FF2B5EF4-FFF2-40B4-BE49-F238E27FC236}">
                <a16:creationId xmlns:a16="http://schemas.microsoft.com/office/drawing/2014/main" id="{1D01DEFA-8F22-F211-B83E-580EF3220AE9}"/>
              </a:ext>
            </a:extLst>
          </p:cNvPr>
          <p:cNvSpPr txBox="1"/>
          <p:nvPr userDrawn="1"/>
        </p:nvSpPr>
        <p:spPr>
          <a:xfrm>
            <a:off x="5694744" y="1338452"/>
            <a:ext cx="4803494" cy="769441"/>
          </a:xfrm>
          <a:prstGeom prst="rect">
            <a:avLst/>
          </a:prstGeom>
          <a:noFill/>
        </p:spPr>
        <p:txBody>
          <a:bodyPr wrap="square" rtlCol="0">
            <a:spAutoFit/>
          </a:bodyPr>
          <a:lstStyle/>
          <a:p>
            <a:r>
              <a:rPr lang="en-US" sz="4400" b="1" i="0">
                <a:solidFill>
                  <a:schemeClr val="tx2"/>
                </a:solidFill>
                <a:latin typeface="Tiempos Headline Semibold" panose="02020703060303060403" pitchFamily="18" charset="77"/>
                <a:cs typeface="Times New Roman" panose="02020603050405020304" pitchFamily="18" charset="0"/>
              </a:rPr>
              <a:t>Quote – 44 pt</a:t>
            </a:r>
          </a:p>
        </p:txBody>
      </p:sp>
      <p:sp>
        <p:nvSpPr>
          <p:cNvPr id="8" name="TextBox 7">
            <a:extLst>
              <a:ext uri="{FF2B5EF4-FFF2-40B4-BE49-F238E27FC236}">
                <a16:creationId xmlns:a16="http://schemas.microsoft.com/office/drawing/2014/main" id="{C5E61ED4-DEDC-AD55-7414-08D52679B9EA}"/>
              </a:ext>
            </a:extLst>
          </p:cNvPr>
          <p:cNvSpPr txBox="1"/>
          <p:nvPr userDrawn="1"/>
        </p:nvSpPr>
        <p:spPr>
          <a:xfrm>
            <a:off x="5694744" y="2380171"/>
            <a:ext cx="4803494" cy="369332"/>
          </a:xfrm>
          <a:prstGeom prst="rect">
            <a:avLst/>
          </a:prstGeom>
          <a:noFill/>
        </p:spPr>
        <p:txBody>
          <a:bodyPr wrap="square" rtlCol="0">
            <a:spAutoFit/>
          </a:bodyPr>
          <a:lstStyle/>
          <a:p>
            <a:r>
              <a:rPr lang="en-US" b="0" i="0">
                <a:solidFill>
                  <a:schemeClr val="tx2"/>
                </a:solidFill>
                <a:latin typeface="TT Commons Pro Light" panose="020B0103030102020204" pitchFamily="34" charset="77"/>
                <a:cs typeface="Arial" panose="020B0604020202020204" pitchFamily="34" charset="0"/>
              </a:rPr>
              <a:t>Body copy medium – 18 pt</a:t>
            </a:r>
          </a:p>
        </p:txBody>
      </p:sp>
      <p:sp>
        <p:nvSpPr>
          <p:cNvPr id="9" name="TextBox 8">
            <a:extLst>
              <a:ext uri="{FF2B5EF4-FFF2-40B4-BE49-F238E27FC236}">
                <a16:creationId xmlns:a16="http://schemas.microsoft.com/office/drawing/2014/main" id="{7AE57064-1B64-5B8E-9326-0ACCB38387FF}"/>
              </a:ext>
            </a:extLst>
          </p:cNvPr>
          <p:cNvSpPr txBox="1"/>
          <p:nvPr userDrawn="1"/>
        </p:nvSpPr>
        <p:spPr>
          <a:xfrm>
            <a:off x="5694744" y="2924181"/>
            <a:ext cx="4803494" cy="307777"/>
          </a:xfrm>
          <a:prstGeom prst="rect">
            <a:avLst/>
          </a:prstGeom>
          <a:noFill/>
        </p:spPr>
        <p:txBody>
          <a:bodyPr wrap="square" rtlCol="0">
            <a:spAutoFit/>
          </a:bodyPr>
          <a:lstStyle/>
          <a:p>
            <a:r>
              <a:rPr lang="en-US" sz="1400" b="0" i="0">
                <a:solidFill>
                  <a:schemeClr val="tx2"/>
                </a:solidFill>
                <a:latin typeface="TT Commons Pro Light" panose="020B0103030102020204" pitchFamily="34" charset="77"/>
                <a:cs typeface="Arial" panose="020B0604020202020204" pitchFamily="34" charset="0"/>
              </a:rPr>
              <a:t>Body copy small – 14 pt</a:t>
            </a:r>
          </a:p>
        </p:txBody>
      </p:sp>
      <p:sp>
        <p:nvSpPr>
          <p:cNvPr id="10" name="TextBox 9">
            <a:extLst>
              <a:ext uri="{FF2B5EF4-FFF2-40B4-BE49-F238E27FC236}">
                <a16:creationId xmlns:a16="http://schemas.microsoft.com/office/drawing/2014/main" id="{F1F2C4CC-4DD3-8714-4D06-51D07E9E59C4}"/>
              </a:ext>
            </a:extLst>
          </p:cNvPr>
          <p:cNvSpPr txBox="1"/>
          <p:nvPr userDrawn="1"/>
        </p:nvSpPr>
        <p:spPr>
          <a:xfrm>
            <a:off x="5694744" y="3406636"/>
            <a:ext cx="4803494" cy="369332"/>
          </a:xfrm>
          <a:prstGeom prst="rect">
            <a:avLst/>
          </a:prstGeom>
          <a:noFill/>
        </p:spPr>
        <p:txBody>
          <a:bodyPr wrap="square" rtlCol="0">
            <a:spAutoFit/>
          </a:bodyPr>
          <a:lstStyle/>
          <a:p>
            <a:r>
              <a:rPr lang="en-US" b="0" i="0">
                <a:solidFill>
                  <a:schemeClr val="accent1"/>
                </a:solidFill>
                <a:latin typeface="TT Commons Pro Light" panose="020B0103030102020204" pitchFamily="34" charset="77"/>
                <a:cs typeface="Arial" panose="020B0604020202020204" pitchFamily="34" charset="0"/>
              </a:rPr>
              <a:t>Tagline – 18 pt</a:t>
            </a:r>
          </a:p>
        </p:txBody>
      </p:sp>
      <p:sp>
        <p:nvSpPr>
          <p:cNvPr id="11" name="Rectangle 10">
            <a:extLst>
              <a:ext uri="{FF2B5EF4-FFF2-40B4-BE49-F238E27FC236}">
                <a16:creationId xmlns:a16="http://schemas.microsoft.com/office/drawing/2014/main" id="{96242299-395A-7B6A-54DF-ACB02DBF337A}"/>
              </a:ext>
            </a:extLst>
          </p:cNvPr>
          <p:cNvSpPr/>
          <p:nvPr userDrawn="1"/>
        </p:nvSpPr>
        <p:spPr>
          <a:xfrm>
            <a:off x="5775768" y="4852798"/>
            <a:ext cx="1116059" cy="5550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rgbClr val="A6C044"/>
              </a:solidFill>
              <a:latin typeface="TT Commons Pro Light" panose="020B0103030102020204" pitchFamily="34" charset="77"/>
            </a:endParaRPr>
          </a:p>
        </p:txBody>
      </p:sp>
      <p:sp>
        <p:nvSpPr>
          <p:cNvPr id="12" name="TextBox 11">
            <a:extLst>
              <a:ext uri="{FF2B5EF4-FFF2-40B4-BE49-F238E27FC236}">
                <a16:creationId xmlns:a16="http://schemas.microsoft.com/office/drawing/2014/main" id="{6C50844E-AC5E-C9A2-1559-15AC67CD6BE3}"/>
              </a:ext>
            </a:extLst>
          </p:cNvPr>
          <p:cNvSpPr txBox="1"/>
          <p:nvPr userDrawn="1"/>
        </p:nvSpPr>
        <p:spPr>
          <a:xfrm>
            <a:off x="7066687" y="4911019"/>
            <a:ext cx="938077" cy="307777"/>
          </a:xfrm>
          <a:prstGeom prst="rect">
            <a:avLst/>
          </a:prstGeom>
          <a:noFill/>
        </p:spPr>
        <p:txBody>
          <a:bodyPr wrap="none" rtlCol="0">
            <a:spAutoFit/>
          </a:bodyPr>
          <a:lstStyle/>
          <a:p>
            <a:r>
              <a:rPr lang="en-GB" sz="1400" b="0" i="0">
                <a:solidFill>
                  <a:schemeClr val="tx2"/>
                </a:solidFill>
                <a:latin typeface="TT Commons Pro Light" panose="020B0103030102020204" pitchFamily="34" charset="77"/>
                <a:cs typeface="Arial" panose="020B0604020202020204" pitchFamily="34" charset="0"/>
              </a:rPr>
              <a:t>#A6C044</a:t>
            </a:r>
          </a:p>
        </p:txBody>
      </p:sp>
      <p:sp>
        <p:nvSpPr>
          <p:cNvPr id="13" name="Rectangle 12">
            <a:extLst>
              <a:ext uri="{FF2B5EF4-FFF2-40B4-BE49-F238E27FC236}">
                <a16:creationId xmlns:a16="http://schemas.microsoft.com/office/drawing/2014/main" id="{42770E1A-F79D-12A0-4131-C6208037FD42}"/>
              </a:ext>
            </a:extLst>
          </p:cNvPr>
          <p:cNvSpPr/>
          <p:nvPr userDrawn="1"/>
        </p:nvSpPr>
        <p:spPr>
          <a:xfrm>
            <a:off x="5775768" y="4181197"/>
            <a:ext cx="1116059" cy="555035"/>
          </a:xfrm>
          <a:prstGeom prst="rect">
            <a:avLst/>
          </a:prstGeom>
          <a:solidFill>
            <a:srgbClr val="444B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chemeClr val="tx2"/>
              </a:solidFill>
              <a:latin typeface="TT Commons Pro Light" panose="020B0103030102020204" pitchFamily="34" charset="77"/>
            </a:endParaRPr>
          </a:p>
        </p:txBody>
      </p:sp>
      <p:sp>
        <p:nvSpPr>
          <p:cNvPr id="14" name="TextBox 13">
            <a:extLst>
              <a:ext uri="{FF2B5EF4-FFF2-40B4-BE49-F238E27FC236}">
                <a16:creationId xmlns:a16="http://schemas.microsoft.com/office/drawing/2014/main" id="{82BE8854-8CF4-844C-AB3F-531C7CFCD5CE}"/>
              </a:ext>
            </a:extLst>
          </p:cNvPr>
          <p:cNvSpPr txBox="1"/>
          <p:nvPr userDrawn="1"/>
        </p:nvSpPr>
        <p:spPr>
          <a:xfrm>
            <a:off x="7077492" y="4166921"/>
            <a:ext cx="894797" cy="307777"/>
          </a:xfrm>
          <a:prstGeom prst="rect">
            <a:avLst/>
          </a:prstGeom>
          <a:noFill/>
        </p:spPr>
        <p:txBody>
          <a:bodyPr wrap="none" rtlCol="0">
            <a:spAutoFit/>
          </a:bodyPr>
          <a:lstStyle/>
          <a:p>
            <a:r>
              <a:rPr lang="en-GB" sz="1400" b="0" i="0">
                <a:solidFill>
                  <a:schemeClr val="tx2"/>
                </a:solidFill>
                <a:latin typeface="TT Commons Pro Light" panose="020B0103030102020204" pitchFamily="34" charset="77"/>
                <a:cs typeface="Arial" panose="020B0604020202020204" pitchFamily="34" charset="0"/>
              </a:rPr>
              <a:t>#444B53</a:t>
            </a:r>
          </a:p>
        </p:txBody>
      </p:sp>
      <p:sp>
        <p:nvSpPr>
          <p:cNvPr id="15" name="TextBox 14">
            <a:extLst>
              <a:ext uri="{FF2B5EF4-FFF2-40B4-BE49-F238E27FC236}">
                <a16:creationId xmlns:a16="http://schemas.microsoft.com/office/drawing/2014/main" id="{86D31CFA-AFAA-7D42-B897-29E4A3157661}"/>
              </a:ext>
            </a:extLst>
          </p:cNvPr>
          <p:cNvSpPr txBox="1"/>
          <p:nvPr userDrawn="1"/>
        </p:nvSpPr>
        <p:spPr>
          <a:xfrm>
            <a:off x="7076805" y="4417577"/>
            <a:ext cx="934871" cy="307777"/>
          </a:xfrm>
          <a:prstGeom prst="rect">
            <a:avLst/>
          </a:prstGeom>
          <a:noFill/>
        </p:spPr>
        <p:txBody>
          <a:bodyPr wrap="none" rtlCol="0">
            <a:spAutoFit/>
          </a:bodyPr>
          <a:lstStyle/>
          <a:p>
            <a:r>
              <a:rPr lang="en-GB" sz="1400" b="0" i="0">
                <a:solidFill>
                  <a:schemeClr val="tx2"/>
                </a:solidFill>
                <a:latin typeface="TT Commons Pro Light" panose="020B0103030102020204" pitchFamily="34" charset="77"/>
                <a:cs typeface="Arial" panose="020B0604020202020204" pitchFamily="34" charset="0"/>
              </a:rPr>
              <a:t>Text color</a:t>
            </a:r>
          </a:p>
        </p:txBody>
      </p:sp>
      <p:sp>
        <p:nvSpPr>
          <p:cNvPr id="16" name="Rectangle 15">
            <a:extLst>
              <a:ext uri="{FF2B5EF4-FFF2-40B4-BE49-F238E27FC236}">
                <a16:creationId xmlns:a16="http://schemas.microsoft.com/office/drawing/2014/main" id="{C19E61CD-97BA-576F-991E-6A374BD8CAC3}"/>
              </a:ext>
            </a:extLst>
          </p:cNvPr>
          <p:cNvSpPr/>
          <p:nvPr userDrawn="1"/>
        </p:nvSpPr>
        <p:spPr>
          <a:xfrm>
            <a:off x="5775768" y="5507233"/>
            <a:ext cx="1116059" cy="555035"/>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rgbClr val="A6C044"/>
              </a:solidFill>
              <a:latin typeface="TT Commons Pro Light" panose="020B0103030102020204" pitchFamily="34" charset="77"/>
            </a:endParaRPr>
          </a:p>
        </p:txBody>
      </p:sp>
      <p:sp>
        <p:nvSpPr>
          <p:cNvPr id="17" name="TextBox 16">
            <a:extLst>
              <a:ext uri="{FF2B5EF4-FFF2-40B4-BE49-F238E27FC236}">
                <a16:creationId xmlns:a16="http://schemas.microsoft.com/office/drawing/2014/main" id="{B056FB8C-7AD6-D12E-C94E-F8E312CA78DC}"/>
              </a:ext>
            </a:extLst>
          </p:cNvPr>
          <p:cNvSpPr txBox="1"/>
          <p:nvPr userDrawn="1"/>
        </p:nvSpPr>
        <p:spPr>
          <a:xfrm>
            <a:off x="7066687" y="5566187"/>
            <a:ext cx="898003" cy="307777"/>
          </a:xfrm>
          <a:prstGeom prst="rect">
            <a:avLst/>
          </a:prstGeom>
          <a:noFill/>
        </p:spPr>
        <p:txBody>
          <a:bodyPr wrap="none" rtlCol="0">
            <a:spAutoFit/>
          </a:bodyPr>
          <a:lstStyle/>
          <a:p>
            <a:r>
              <a:rPr lang="en-GB" sz="1400" b="0" i="0">
                <a:solidFill>
                  <a:schemeClr val="tx2"/>
                </a:solidFill>
                <a:latin typeface="TT Commons Pro Light" panose="020B0103030102020204" pitchFamily="34" charset="77"/>
                <a:cs typeface="Arial" panose="020B0604020202020204" pitchFamily="34" charset="0"/>
              </a:rPr>
              <a:t>#E7E6E6</a:t>
            </a:r>
          </a:p>
        </p:txBody>
      </p:sp>
      <p:sp>
        <p:nvSpPr>
          <p:cNvPr id="18" name="Rectangle 17">
            <a:extLst>
              <a:ext uri="{FF2B5EF4-FFF2-40B4-BE49-F238E27FC236}">
                <a16:creationId xmlns:a16="http://schemas.microsoft.com/office/drawing/2014/main" id="{18948E0C-1CB1-EB7C-4F91-51A238CE7A2D}"/>
              </a:ext>
            </a:extLst>
          </p:cNvPr>
          <p:cNvSpPr/>
          <p:nvPr userDrawn="1"/>
        </p:nvSpPr>
        <p:spPr>
          <a:xfrm>
            <a:off x="8968564" y="4193113"/>
            <a:ext cx="1116059" cy="555035"/>
          </a:xfrm>
          <a:prstGeom prst="rect">
            <a:avLst/>
          </a:prstGeom>
          <a:solidFill>
            <a:srgbClr val="143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chemeClr val="accent2"/>
              </a:solidFill>
              <a:latin typeface="TT Commons Pro Light" panose="020B0103030102020204" pitchFamily="34" charset="77"/>
            </a:endParaRPr>
          </a:p>
        </p:txBody>
      </p:sp>
      <p:sp>
        <p:nvSpPr>
          <p:cNvPr id="19" name="TextBox 18">
            <a:extLst>
              <a:ext uri="{FF2B5EF4-FFF2-40B4-BE49-F238E27FC236}">
                <a16:creationId xmlns:a16="http://schemas.microsoft.com/office/drawing/2014/main" id="{80FA4399-41DD-12BD-BCB9-EA7E2606F214}"/>
              </a:ext>
            </a:extLst>
          </p:cNvPr>
          <p:cNvSpPr txBox="1"/>
          <p:nvPr userDrawn="1"/>
        </p:nvSpPr>
        <p:spPr>
          <a:xfrm>
            <a:off x="10269601" y="4285826"/>
            <a:ext cx="867545" cy="307777"/>
          </a:xfrm>
          <a:prstGeom prst="rect">
            <a:avLst/>
          </a:prstGeom>
          <a:noFill/>
        </p:spPr>
        <p:txBody>
          <a:bodyPr wrap="none" rtlCol="0">
            <a:spAutoFit/>
          </a:bodyPr>
          <a:lstStyle/>
          <a:p>
            <a:r>
              <a:rPr lang="en-GB" sz="1400" b="0" i="0">
                <a:solidFill>
                  <a:schemeClr val="tx2"/>
                </a:solidFill>
                <a:latin typeface="TT Commons Pro Light" panose="020B0103030102020204" pitchFamily="34" charset="77"/>
                <a:cs typeface="Arial" panose="020B0604020202020204" pitchFamily="34" charset="0"/>
              </a:rPr>
              <a:t>#143FD8</a:t>
            </a:r>
          </a:p>
        </p:txBody>
      </p:sp>
      <p:sp>
        <p:nvSpPr>
          <p:cNvPr id="20" name="Rectangle 19">
            <a:extLst>
              <a:ext uri="{FF2B5EF4-FFF2-40B4-BE49-F238E27FC236}">
                <a16:creationId xmlns:a16="http://schemas.microsoft.com/office/drawing/2014/main" id="{A2D8AC7D-EB1C-BBC7-668A-5A0847DE7D65}"/>
              </a:ext>
            </a:extLst>
          </p:cNvPr>
          <p:cNvSpPr/>
          <p:nvPr userDrawn="1"/>
        </p:nvSpPr>
        <p:spPr>
          <a:xfrm>
            <a:off x="8968562" y="4874042"/>
            <a:ext cx="1116059" cy="555035"/>
          </a:xfrm>
          <a:prstGeom prst="rect">
            <a:avLst/>
          </a:prstGeom>
          <a:solidFill>
            <a:srgbClr val="C530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chemeClr val="accent2"/>
              </a:solidFill>
              <a:latin typeface="TT Commons Pro Light" panose="020B0103030102020204" pitchFamily="34" charset="77"/>
            </a:endParaRPr>
          </a:p>
        </p:txBody>
      </p:sp>
      <p:sp>
        <p:nvSpPr>
          <p:cNvPr id="21" name="TextBox 20">
            <a:extLst>
              <a:ext uri="{FF2B5EF4-FFF2-40B4-BE49-F238E27FC236}">
                <a16:creationId xmlns:a16="http://schemas.microsoft.com/office/drawing/2014/main" id="{056AC69E-4C38-E378-B5D3-C7A77ED7F639}"/>
              </a:ext>
            </a:extLst>
          </p:cNvPr>
          <p:cNvSpPr txBox="1"/>
          <p:nvPr userDrawn="1"/>
        </p:nvSpPr>
        <p:spPr>
          <a:xfrm>
            <a:off x="10273392" y="4940994"/>
            <a:ext cx="946093" cy="307777"/>
          </a:xfrm>
          <a:prstGeom prst="rect">
            <a:avLst/>
          </a:prstGeom>
          <a:noFill/>
        </p:spPr>
        <p:txBody>
          <a:bodyPr wrap="none" rtlCol="0">
            <a:spAutoFit/>
          </a:bodyPr>
          <a:lstStyle/>
          <a:p>
            <a:r>
              <a:rPr lang="en-GB" sz="1400" b="0" i="0">
                <a:solidFill>
                  <a:schemeClr val="tx2"/>
                </a:solidFill>
                <a:latin typeface="TT Commons Pro Light" panose="020B0103030102020204" pitchFamily="34" charset="77"/>
                <a:cs typeface="Arial" panose="020B0604020202020204" pitchFamily="34" charset="0"/>
              </a:rPr>
              <a:t>#</a:t>
            </a:r>
            <a:r>
              <a:rPr lang="en-GB" sz="1400" b="0" i="0">
                <a:solidFill>
                  <a:schemeClr val="tx2"/>
                </a:solidFill>
                <a:effectLst/>
                <a:latin typeface="TT Commons Pro Light" panose="020B0103030102020204" pitchFamily="34" charset="77"/>
                <a:cs typeface="Arial" panose="020B0604020202020204" pitchFamily="34" charset="0"/>
              </a:rPr>
              <a:t>C530B6</a:t>
            </a:r>
            <a:endParaRPr lang="en-GB" sz="1400" b="0" i="0">
              <a:solidFill>
                <a:schemeClr val="tx2"/>
              </a:solidFill>
              <a:latin typeface="TT Commons Pro Light" panose="020B0103030102020204" pitchFamily="34" charset="77"/>
              <a:cs typeface="Arial" panose="020B0604020202020204" pitchFamily="34" charset="0"/>
            </a:endParaRPr>
          </a:p>
        </p:txBody>
      </p:sp>
      <p:sp>
        <p:nvSpPr>
          <p:cNvPr id="22" name="Rectangle 21">
            <a:extLst>
              <a:ext uri="{FF2B5EF4-FFF2-40B4-BE49-F238E27FC236}">
                <a16:creationId xmlns:a16="http://schemas.microsoft.com/office/drawing/2014/main" id="{9FEC62F9-2DD0-D3E7-9620-F2D9EFD4920B}"/>
              </a:ext>
            </a:extLst>
          </p:cNvPr>
          <p:cNvSpPr/>
          <p:nvPr userDrawn="1"/>
        </p:nvSpPr>
        <p:spPr>
          <a:xfrm>
            <a:off x="8968562" y="5567973"/>
            <a:ext cx="1116059" cy="55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chemeClr val="accent2"/>
              </a:solidFill>
              <a:latin typeface="TT Commons Pro Light" panose="020B0103030102020204" pitchFamily="34" charset="77"/>
            </a:endParaRPr>
          </a:p>
        </p:txBody>
      </p:sp>
      <p:sp>
        <p:nvSpPr>
          <p:cNvPr id="23" name="TextBox 22">
            <a:extLst>
              <a:ext uri="{FF2B5EF4-FFF2-40B4-BE49-F238E27FC236}">
                <a16:creationId xmlns:a16="http://schemas.microsoft.com/office/drawing/2014/main" id="{EF43AF8B-2A50-0295-109C-3AA0F339CA90}"/>
              </a:ext>
            </a:extLst>
          </p:cNvPr>
          <p:cNvSpPr txBox="1"/>
          <p:nvPr userDrawn="1"/>
        </p:nvSpPr>
        <p:spPr>
          <a:xfrm>
            <a:off x="10269601" y="5626927"/>
            <a:ext cx="848309" cy="307777"/>
          </a:xfrm>
          <a:prstGeom prst="rect">
            <a:avLst/>
          </a:prstGeom>
          <a:noFill/>
        </p:spPr>
        <p:txBody>
          <a:bodyPr wrap="none" rtlCol="0">
            <a:spAutoFit/>
          </a:bodyPr>
          <a:lstStyle/>
          <a:p>
            <a:r>
              <a:rPr lang="en-GB" sz="1400" b="0" i="0">
                <a:solidFill>
                  <a:schemeClr val="tx2"/>
                </a:solidFill>
                <a:latin typeface="TT Commons Pro Light" panose="020B0103030102020204" pitchFamily="34" charset="77"/>
                <a:cs typeface="Arial" panose="020B0604020202020204" pitchFamily="34" charset="0"/>
              </a:rPr>
              <a:t>#</a:t>
            </a:r>
            <a:r>
              <a:rPr lang="en-GB" sz="1400" b="0" i="0">
                <a:solidFill>
                  <a:schemeClr val="tx2"/>
                </a:solidFill>
                <a:effectLst/>
                <a:latin typeface="TT Commons Pro Light" panose="020B0103030102020204" pitchFamily="34" charset="77"/>
                <a:cs typeface="Arial" panose="020B0604020202020204" pitchFamily="34" charset="0"/>
              </a:rPr>
              <a:t>FF7B31</a:t>
            </a:r>
            <a:endParaRPr lang="en-GB" sz="1400" b="0" i="0">
              <a:solidFill>
                <a:schemeClr val="tx2"/>
              </a:solidFill>
              <a:latin typeface="TT Commons Pro Light" panose="020B0103030102020204" pitchFamily="34" charset="77"/>
              <a:cs typeface="Arial" panose="020B0604020202020204" pitchFamily="34" charset="0"/>
            </a:endParaRPr>
          </a:p>
        </p:txBody>
      </p:sp>
    </p:spTree>
    <p:extLst>
      <p:ext uri="{BB962C8B-B14F-4D97-AF65-F5344CB8AC3E}">
        <p14:creationId xmlns:p14="http://schemas.microsoft.com/office/powerpoint/2010/main" val="11660065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No-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1CC1B-2AD0-C254-53B1-9FEDCAB06D48}"/>
              </a:ext>
            </a:extLst>
          </p:cNvPr>
          <p:cNvSpPr>
            <a:spLocks/>
          </p:cNvSpPr>
          <p:nvPr userDrawn="1"/>
        </p:nvSpPr>
        <p:spPr>
          <a:xfrm>
            <a:off x="0" y="-1"/>
            <a:ext cx="12193524" cy="6172945"/>
          </a:xfrm>
          <a:prstGeom prst="rect">
            <a:avLst/>
          </a:prstGeom>
          <a:gradFill flip="none" rotWithShape="1">
            <a:gsLst>
              <a:gs pos="0">
                <a:schemeClr val="accent1"/>
              </a:gs>
              <a:gs pos="100000">
                <a:schemeClr val="accent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122363"/>
            <a:ext cx="5730240" cy="2387600"/>
          </a:xfrm>
          <a:prstGeom prst="rect">
            <a:avLst/>
          </a:prstGeom>
          <a:solidFill>
            <a:schemeClr val="accent1">
              <a:lumMod val="60000"/>
              <a:lumOff val="40000"/>
              <a:alpha val="25000"/>
            </a:schemeClr>
          </a:solidFill>
        </p:spPr>
        <p:txBody>
          <a:bodyPr anchor="b"/>
          <a:lstStyle>
            <a:lvl1pPr algn="l">
              <a:defRPr sz="60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509963"/>
            <a:ext cx="5730240" cy="874269"/>
          </a:xfrm>
          <a:prstGeom prst="rect">
            <a:avLst/>
          </a:prstGeom>
          <a:solidFill>
            <a:schemeClr val="accent1">
              <a:lumMod val="60000"/>
              <a:lumOff val="40000"/>
              <a:alpha val="25000"/>
            </a:schemeClr>
          </a:solidFill>
        </p:spPr>
        <p:txBody>
          <a:bodyPr>
            <a:normAutofit/>
          </a:bodyPr>
          <a:lstStyle>
            <a:lvl1pPr marL="0" indent="0" algn="l">
              <a:buNone/>
              <a:defRPr sz="20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3E45FBCE-8078-430D-15E1-31FE54D687B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841106" y="0"/>
            <a:ext cx="3350894" cy="2948787"/>
          </a:xfrm>
          <a:prstGeom prst="rect">
            <a:avLst/>
          </a:prstGeom>
        </p:spPr>
      </p:pic>
      <p:pic>
        <p:nvPicPr>
          <p:cNvPr id="5" name="Picture 4">
            <a:extLst>
              <a:ext uri="{FF2B5EF4-FFF2-40B4-BE49-F238E27FC236}">
                <a16:creationId xmlns:a16="http://schemas.microsoft.com/office/drawing/2014/main" id="{8AEDCF55-3811-D1CD-BD3F-EF0D7570809E}"/>
              </a:ext>
            </a:extLst>
          </p:cNvPr>
          <p:cNvPicPr>
            <a:picLocks noChangeAspect="1"/>
          </p:cNvPicPr>
          <p:nvPr userDrawn="1"/>
        </p:nvPicPr>
        <p:blipFill>
          <a:blip r:embed="rId3"/>
          <a:stretch>
            <a:fillRect/>
          </a:stretch>
        </p:blipFill>
        <p:spPr>
          <a:xfrm>
            <a:off x="11013888" y="247921"/>
            <a:ext cx="582846" cy="874269"/>
          </a:xfrm>
          <a:prstGeom prst="rect">
            <a:avLst/>
          </a:prstGeom>
        </p:spPr>
      </p:pic>
    </p:spTree>
    <p:extLst>
      <p:ext uri="{BB962C8B-B14F-4D97-AF65-F5344CB8AC3E}">
        <p14:creationId xmlns:p14="http://schemas.microsoft.com/office/powerpoint/2010/main" val="37326975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1CC1B-2AD0-C254-53B1-9FEDCAB06D48}"/>
              </a:ext>
            </a:extLst>
          </p:cNvPr>
          <p:cNvSpPr>
            <a:spLocks/>
          </p:cNvSpPr>
          <p:nvPr userDrawn="1"/>
        </p:nvSpPr>
        <p:spPr>
          <a:xfrm>
            <a:off x="0" y="-1"/>
            <a:ext cx="12193524" cy="617294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sp>
        <p:nvSpPr>
          <p:cNvPr id="11" name="Picture Placeholder 10">
            <a:extLst>
              <a:ext uri="{FF2B5EF4-FFF2-40B4-BE49-F238E27FC236}">
                <a16:creationId xmlns:a16="http://schemas.microsoft.com/office/drawing/2014/main" id="{EFC23991-F3B8-75F0-DD83-14444B2CB1A7}"/>
              </a:ext>
            </a:extLst>
          </p:cNvPr>
          <p:cNvSpPr>
            <a:spLocks noGrp="1"/>
          </p:cNvSpPr>
          <p:nvPr>
            <p:ph type="pic" sz="quarter" idx="10" hasCustomPrompt="1"/>
          </p:nvPr>
        </p:nvSpPr>
        <p:spPr>
          <a:xfrm>
            <a:off x="0" y="-1"/>
            <a:ext cx="12192000" cy="6183578"/>
          </a:xfrm>
          <a:prstGeom prst="rect">
            <a:avLst/>
          </a:prstGeom>
        </p:spPr>
        <p:txBody>
          <a:bodyPr>
            <a:normAutofit/>
          </a:bodyPr>
          <a:lstStyle>
            <a:lvl1pPr marL="0" indent="0">
              <a:buNone/>
              <a:defRPr sz="1800" b="0" i="0">
                <a:solidFill>
                  <a:schemeClr val="bg2"/>
                </a:solidFill>
              </a:defRPr>
            </a:lvl1pPr>
          </a:lstStyle>
          <a:p>
            <a:r>
              <a:rPr lang="en-US"/>
              <a:t>Click to add image</a:t>
            </a:r>
          </a:p>
        </p:txBody>
      </p:sp>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214438"/>
            <a:ext cx="5730240" cy="2387600"/>
          </a:xfrm>
          <a:prstGeom prst="rect">
            <a:avLst/>
          </a:prstGeom>
          <a:solidFill>
            <a:schemeClr val="tx2">
              <a:alpha val="65000"/>
            </a:schemeClr>
          </a:solidFill>
        </p:spPr>
        <p:txBody>
          <a:bodyPr anchor="b"/>
          <a:lstStyle>
            <a:lvl1pPr algn="l">
              <a:defRPr sz="60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602038"/>
            <a:ext cx="5730240" cy="874269"/>
          </a:xfrm>
          <a:prstGeom prst="rect">
            <a:avLst/>
          </a:prstGeom>
          <a:solidFill>
            <a:schemeClr val="tx2">
              <a:alpha val="65000"/>
            </a:schemeClr>
          </a:solidFill>
        </p:spPr>
        <p:txBody>
          <a:bodyPr>
            <a:normAutofit/>
          </a:bodyPr>
          <a:lstStyle>
            <a:lvl1pPr marL="0" indent="0" algn="l">
              <a:buNone/>
              <a:defRPr sz="20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892871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Gray">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8D35621-169F-E7B3-3D5F-AAB64A00545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pic>
        <p:nvPicPr>
          <p:cNvPr id="17" name="Picture 16">
            <a:extLst>
              <a:ext uri="{FF2B5EF4-FFF2-40B4-BE49-F238E27FC236}">
                <a16:creationId xmlns:a16="http://schemas.microsoft.com/office/drawing/2014/main" id="{E81304C3-542D-C5EB-593E-65F3066DE2FE}"/>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rcRect/>
          <a:stretch/>
        </p:blipFill>
        <p:spPr>
          <a:xfrm>
            <a:off x="110386" y="1600200"/>
            <a:ext cx="3350894" cy="2948787"/>
          </a:xfrm>
          <a:prstGeom prst="rect">
            <a:avLst/>
          </a:prstGeom>
          <a:effectLst>
            <a:outerShdw blurRad="50800" dist="50800" dir="5400000" algn="ctr" rotWithShape="0">
              <a:srgbClr val="000000">
                <a:alpha val="30000"/>
              </a:srgbClr>
            </a:outerShdw>
          </a:effectLst>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122363"/>
            <a:ext cx="9539478" cy="2387600"/>
          </a:xfrm>
          <a:prstGeom prst="rect">
            <a:avLst/>
          </a:prstGeom>
        </p:spPr>
        <p:txBody>
          <a:bodyPr anchor="b">
            <a:normAutofit/>
          </a:bodyPr>
          <a:lstStyle>
            <a:lvl1pPr algn="l">
              <a:defRPr sz="52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602038"/>
            <a:ext cx="9539478" cy="1655762"/>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240103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Purple">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860ECBE-E206-3F84-DCD4-A82C158745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386" y="1600200"/>
            <a:ext cx="3350894" cy="2948787"/>
          </a:xfrm>
          <a:prstGeom prst="rect">
            <a:avLst/>
          </a:prstGeom>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122363"/>
            <a:ext cx="9539478" cy="2387600"/>
          </a:xfrm>
          <a:prstGeom prst="rect">
            <a:avLst/>
          </a:prstGeom>
        </p:spPr>
        <p:txBody>
          <a:bodyPr anchor="b">
            <a:normAutofit/>
          </a:bodyPr>
          <a:lstStyle>
            <a:lvl1pPr algn="l">
              <a:defRPr sz="52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602038"/>
            <a:ext cx="9539478" cy="1655762"/>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68D35621-169F-E7B3-3D5F-AAB64A00545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3" y="6188507"/>
            <a:ext cx="1346508" cy="609369"/>
          </a:xfrm>
          <a:prstGeom prst="rect">
            <a:avLst/>
          </a:prstGeom>
        </p:spPr>
      </p:pic>
    </p:spTree>
    <p:extLst>
      <p:ext uri="{BB962C8B-B14F-4D97-AF65-F5344CB8AC3E}">
        <p14:creationId xmlns:p14="http://schemas.microsoft.com/office/powerpoint/2010/main" val="13675077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Orange">
    <p:bg>
      <p:bgPr>
        <a:solidFill>
          <a:schemeClr val="accent5"/>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860ECBE-E206-3F84-DCD4-A82C158745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386" y="1600200"/>
            <a:ext cx="3350894" cy="2948787"/>
          </a:xfrm>
          <a:prstGeom prst="rect">
            <a:avLst/>
          </a:prstGeom>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122363"/>
            <a:ext cx="9539478" cy="2387600"/>
          </a:xfrm>
          <a:prstGeom prst="rect">
            <a:avLst/>
          </a:prstGeom>
        </p:spPr>
        <p:txBody>
          <a:bodyPr anchor="b">
            <a:normAutofit/>
          </a:bodyPr>
          <a:lstStyle>
            <a:lvl1pPr algn="l">
              <a:defRPr sz="52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602038"/>
            <a:ext cx="9539478" cy="1655762"/>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68D35621-169F-E7B3-3D5F-AAB64A00545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3" y="6188507"/>
            <a:ext cx="1346508" cy="609369"/>
          </a:xfrm>
          <a:prstGeom prst="rect">
            <a:avLst/>
          </a:prstGeom>
        </p:spPr>
      </p:pic>
    </p:spTree>
    <p:extLst>
      <p:ext uri="{BB962C8B-B14F-4D97-AF65-F5344CB8AC3E}">
        <p14:creationId xmlns:p14="http://schemas.microsoft.com/office/powerpoint/2010/main" val="29621331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Blue">
    <p:bg>
      <p:bgPr>
        <a:solidFill>
          <a:schemeClr val="accent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860ECBE-E206-3F84-DCD4-A82C158745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386" y="1600200"/>
            <a:ext cx="3350894" cy="2948787"/>
          </a:xfrm>
          <a:prstGeom prst="rect">
            <a:avLst/>
          </a:prstGeom>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122363"/>
            <a:ext cx="9539478" cy="2387600"/>
          </a:xfrm>
          <a:prstGeom prst="rect">
            <a:avLst/>
          </a:prstGeom>
        </p:spPr>
        <p:txBody>
          <a:bodyPr anchor="b">
            <a:normAutofit/>
          </a:bodyPr>
          <a:lstStyle>
            <a:lvl1pPr algn="l">
              <a:defRPr sz="52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602038"/>
            <a:ext cx="9539478" cy="1655762"/>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68D35621-169F-E7B3-3D5F-AAB64A00545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3" y="6188507"/>
            <a:ext cx="1346508" cy="609369"/>
          </a:xfrm>
          <a:prstGeom prst="rect">
            <a:avLst/>
          </a:prstGeom>
        </p:spPr>
      </p:pic>
    </p:spTree>
    <p:extLst>
      <p:ext uri="{BB962C8B-B14F-4D97-AF65-F5344CB8AC3E}">
        <p14:creationId xmlns:p14="http://schemas.microsoft.com/office/powerpoint/2010/main" val="25104020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Header-Gra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9842573" y="0"/>
            <a:ext cx="2349427" cy="6858000"/>
          </a:xfrm>
          <a:prstGeom prst="rect">
            <a:avLst/>
          </a:prstGeom>
          <a:solidFill>
            <a:srgbClr val="F0F1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4" name="Picture Placeholder 9">
            <a:extLst>
              <a:ext uri="{FF2B5EF4-FFF2-40B4-BE49-F238E27FC236}">
                <a16:creationId xmlns:a16="http://schemas.microsoft.com/office/drawing/2014/main" id="{0F1E3092-CC2A-09B4-51ED-F4E53230A98D}"/>
              </a:ext>
            </a:extLst>
          </p:cNvPr>
          <p:cNvSpPr>
            <a:spLocks noGrp="1"/>
          </p:cNvSpPr>
          <p:nvPr>
            <p:ph type="pic" sz="quarter" idx="13" hasCustomPrompt="1"/>
          </p:nvPr>
        </p:nvSpPr>
        <p:spPr>
          <a:xfrm>
            <a:off x="6409492" y="420393"/>
            <a:ext cx="5356397" cy="5355717"/>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
        <p:nvSpPr>
          <p:cNvPr id="5" name="Picture Placeholder 17">
            <a:extLst>
              <a:ext uri="{FF2B5EF4-FFF2-40B4-BE49-F238E27FC236}">
                <a16:creationId xmlns:a16="http://schemas.microsoft.com/office/drawing/2014/main" id="{FD7F3BBD-7800-2792-5C72-05B50F05BD59}"/>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r>
              <a:rPr lang="en-GB"/>
              <a:t>Click to add picture or icon</a:t>
            </a:r>
          </a:p>
        </p:txBody>
      </p:sp>
    </p:spTree>
    <p:extLst>
      <p:ext uri="{BB962C8B-B14F-4D97-AF65-F5344CB8AC3E}">
        <p14:creationId xmlns:p14="http://schemas.microsoft.com/office/powerpoint/2010/main" val="9107235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Header-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9842573" y="0"/>
            <a:ext cx="2349427" cy="6858000"/>
          </a:xfrm>
          <a:prstGeom prst="rect">
            <a:avLst/>
          </a:prstGeom>
          <a:solidFill>
            <a:srgbClr val="FAEA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r>
              <a:rPr lang="en-GB"/>
              <a:t>Click to add picture or icon</a:t>
            </a:r>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3"/>
                </a:solidFill>
              </a:defRPr>
            </a:lvl1pPr>
          </a:lstStyle>
          <a:p>
            <a:pPr lvl="0"/>
            <a:r>
              <a:rPr lang="en-US"/>
              <a:t>Tagline</a:t>
            </a:r>
          </a:p>
        </p:txBody>
      </p:sp>
      <p:sp>
        <p:nvSpPr>
          <p:cNvPr id="4" name="Picture Placeholder 9">
            <a:extLst>
              <a:ext uri="{FF2B5EF4-FFF2-40B4-BE49-F238E27FC236}">
                <a16:creationId xmlns:a16="http://schemas.microsoft.com/office/drawing/2014/main" id="{ADDC55DA-97F2-63EE-02EF-D4C44F0A819A}"/>
              </a:ext>
            </a:extLst>
          </p:cNvPr>
          <p:cNvSpPr>
            <a:spLocks noGrp="1"/>
          </p:cNvSpPr>
          <p:nvPr>
            <p:ph type="pic" sz="quarter" idx="13" hasCustomPrompt="1"/>
          </p:nvPr>
        </p:nvSpPr>
        <p:spPr>
          <a:xfrm>
            <a:off x="6409492" y="420393"/>
            <a:ext cx="5356397" cy="5355717"/>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Tree>
    <p:extLst>
      <p:ext uri="{BB962C8B-B14F-4D97-AF65-F5344CB8AC3E}">
        <p14:creationId xmlns:p14="http://schemas.microsoft.com/office/powerpoint/2010/main" val="27893573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Header-Oran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9842573" y="0"/>
            <a:ext cx="2349427" cy="6858000"/>
          </a:xfrm>
          <a:prstGeom prst="rect">
            <a:avLst/>
          </a:prstGeom>
          <a:solidFill>
            <a:srgbClr val="FFE5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r>
              <a:rPr lang="en-GB"/>
              <a:t>Click to add picture or icon</a:t>
            </a:r>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5"/>
                </a:solidFill>
              </a:defRPr>
            </a:lvl1pPr>
          </a:lstStyle>
          <a:p>
            <a:pPr lvl="0"/>
            <a:r>
              <a:rPr lang="en-US"/>
              <a:t>Tagline</a:t>
            </a:r>
          </a:p>
        </p:txBody>
      </p:sp>
      <p:sp>
        <p:nvSpPr>
          <p:cNvPr id="16" name="Picture Placeholder 9">
            <a:extLst>
              <a:ext uri="{FF2B5EF4-FFF2-40B4-BE49-F238E27FC236}">
                <a16:creationId xmlns:a16="http://schemas.microsoft.com/office/drawing/2014/main" id="{461B2082-B7FC-A0B6-D5F6-5079EA40038B}"/>
              </a:ext>
            </a:extLst>
          </p:cNvPr>
          <p:cNvSpPr>
            <a:spLocks noGrp="1"/>
          </p:cNvSpPr>
          <p:nvPr>
            <p:ph type="pic" sz="quarter" idx="13" hasCustomPrompt="1"/>
          </p:nvPr>
        </p:nvSpPr>
        <p:spPr>
          <a:xfrm>
            <a:off x="6409492" y="420393"/>
            <a:ext cx="5356397" cy="5355717"/>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Tree>
    <p:extLst>
      <p:ext uri="{BB962C8B-B14F-4D97-AF65-F5344CB8AC3E}">
        <p14:creationId xmlns:p14="http://schemas.microsoft.com/office/powerpoint/2010/main" val="3567330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Purple">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860ECBE-E206-3F84-DCD4-A82C158745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386" y="1600200"/>
            <a:ext cx="3350894" cy="2948787"/>
          </a:xfrm>
          <a:prstGeom prst="rect">
            <a:avLst/>
          </a:prstGeom>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122363"/>
            <a:ext cx="9539478" cy="2387600"/>
          </a:xfrm>
          <a:prstGeom prst="rect">
            <a:avLst/>
          </a:prstGeom>
        </p:spPr>
        <p:txBody>
          <a:bodyPr anchor="b">
            <a:normAutofit/>
          </a:bodyPr>
          <a:lstStyle>
            <a:lvl1pPr algn="l">
              <a:defRPr sz="52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602038"/>
            <a:ext cx="9539478" cy="1655762"/>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68D35621-169F-E7B3-3D5F-AAB64A00545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3" y="6188507"/>
            <a:ext cx="1346508" cy="609369"/>
          </a:xfrm>
          <a:prstGeom prst="rect">
            <a:avLst/>
          </a:prstGeom>
        </p:spPr>
      </p:pic>
    </p:spTree>
    <p:extLst>
      <p:ext uri="{BB962C8B-B14F-4D97-AF65-F5344CB8AC3E}">
        <p14:creationId xmlns:p14="http://schemas.microsoft.com/office/powerpoint/2010/main" val="13675077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Header-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9842573" y="0"/>
            <a:ext cx="2349427" cy="6858000"/>
          </a:xfrm>
          <a:prstGeom prst="rect">
            <a:avLst/>
          </a:prstGeom>
          <a:solidFill>
            <a:srgbClr val="E5E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r>
              <a:rPr lang="en-GB"/>
              <a:t>Click to add picture or icon</a:t>
            </a:r>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2"/>
                </a:solidFill>
              </a:defRPr>
            </a:lvl1pPr>
          </a:lstStyle>
          <a:p>
            <a:pPr lvl="0"/>
            <a:r>
              <a:rPr lang="en-US"/>
              <a:t>Tagline</a:t>
            </a:r>
          </a:p>
        </p:txBody>
      </p:sp>
      <p:sp>
        <p:nvSpPr>
          <p:cNvPr id="5" name="Picture Placeholder 9">
            <a:extLst>
              <a:ext uri="{FF2B5EF4-FFF2-40B4-BE49-F238E27FC236}">
                <a16:creationId xmlns:a16="http://schemas.microsoft.com/office/drawing/2014/main" id="{04C5A8BA-D094-0CB5-EA9F-2ADA16528179}"/>
              </a:ext>
            </a:extLst>
          </p:cNvPr>
          <p:cNvSpPr>
            <a:spLocks noGrp="1"/>
          </p:cNvSpPr>
          <p:nvPr>
            <p:ph type="pic" sz="quarter" idx="13" hasCustomPrompt="1"/>
          </p:nvPr>
        </p:nvSpPr>
        <p:spPr>
          <a:xfrm>
            <a:off x="6409492" y="420393"/>
            <a:ext cx="5356397" cy="5355717"/>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Tree>
    <p:extLst>
      <p:ext uri="{BB962C8B-B14F-4D97-AF65-F5344CB8AC3E}">
        <p14:creationId xmlns:p14="http://schemas.microsoft.com/office/powerpoint/2010/main" val="26410437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2-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7091916" y="399128"/>
            <a:ext cx="4713059" cy="5672063"/>
          </a:xfrm>
          <a:prstGeom prst="rect">
            <a:avLst/>
          </a:prstGeom>
          <a:solidFill>
            <a:srgbClr val="FAEA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pPr marL="7938" marR="0" lvl="0" indent="0" algn="l" defTabSz="914400" rtl="0" eaLnBrk="1" fontAlgn="auto" latinLnBrk="0" hangingPunct="1">
              <a:lnSpc>
                <a:spcPct val="90000"/>
              </a:lnSpc>
              <a:spcBef>
                <a:spcPts val="1000"/>
              </a:spcBef>
              <a:spcAft>
                <a:spcPts val="0"/>
              </a:spcAft>
              <a:buClrTx/>
              <a:buSzTx/>
              <a:buFontTx/>
              <a:buNone/>
              <a:tabLst/>
              <a:defRPr/>
            </a:pPr>
            <a:r>
              <a:rPr lang="en-GB"/>
              <a:t>Click to add picture or icon</a:t>
            </a:r>
          </a:p>
          <a:p>
            <a:endParaRPr lang="en-GB"/>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3"/>
                </a:solidFill>
              </a:defRPr>
            </a:lvl1pPr>
          </a:lstStyle>
          <a:p>
            <a:pPr lvl="0"/>
            <a:r>
              <a:rPr lang="en-US"/>
              <a:t>Tagline</a:t>
            </a:r>
          </a:p>
        </p:txBody>
      </p:sp>
      <p:sp>
        <p:nvSpPr>
          <p:cNvPr id="4" name="Picture Placeholder 9">
            <a:extLst>
              <a:ext uri="{FF2B5EF4-FFF2-40B4-BE49-F238E27FC236}">
                <a16:creationId xmlns:a16="http://schemas.microsoft.com/office/drawing/2014/main" id="{ADDC55DA-97F2-63EE-02EF-D4C44F0A819A}"/>
              </a:ext>
            </a:extLst>
          </p:cNvPr>
          <p:cNvSpPr>
            <a:spLocks noGrp="1"/>
          </p:cNvSpPr>
          <p:nvPr>
            <p:ph type="pic" sz="quarter" idx="13" hasCustomPrompt="1"/>
          </p:nvPr>
        </p:nvSpPr>
        <p:spPr>
          <a:xfrm>
            <a:off x="7603197" y="619303"/>
            <a:ext cx="3685708" cy="3605855"/>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
        <p:nvSpPr>
          <p:cNvPr id="8" name="Text Placeholder 7">
            <a:extLst>
              <a:ext uri="{FF2B5EF4-FFF2-40B4-BE49-F238E27FC236}">
                <a16:creationId xmlns:a16="http://schemas.microsoft.com/office/drawing/2014/main" id="{71519CB2-2A03-C1CE-6275-71B0D80F7AF3}"/>
              </a:ext>
            </a:extLst>
          </p:cNvPr>
          <p:cNvSpPr>
            <a:spLocks noGrp="1"/>
          </p:cNvSpPr>
          <p:nvPr>
            <p:ph type="body" sz="quarter" idx="19" hasCustomPrompt="1"/>
          </p:nvPr>
        </p:nvSpPr>
        <p:spPr>
          <a:xfrm>
            <a:off x="7315200" y="4447436"/>
            <a:ext cx="4284663"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9" name="Text Placeholder 7">
            <a:extLst>
              <a:ext uri="{FF2B5EF4-FFF2-40B4-BE49-F238E27FC236}">
                <a16:creationId xmlns:a16="http://schemas.microsoft.com/office/drawing/2014/main" id="{E85E9040-158F-7303-9FB7-A581ED183A55}"/>
              </a:ext>
            </a:extLst>
          </p:cNvPr>
          <p:cNvSpPr>
            <a:spLocks noGrp="1"/>
          </p:cNvSpPr>
          <p:nvPr>
            <p:ph type="body" sz="quarter" idx="20" hasCustomPrompt="1"/>
          </p:nvPr>
        </p:nvSpPr>
        <p:spPr>
          <a:xfrm>
            <a:off x="7315200" y="5236576"/>
            <a:ext cx="4284663" cy="700088"/>
          </a:xfrm>
        </p:spPr>
        <p:txBody>
          <a:bodyPr anchor="t">
            <a:normAutofit/>
          </a:bodyPr>
          <a:lstStyle>
            <a:lvl1pPr marL="0" indent="0">
              <a:buNone/>
              <a:defRPr sz="1600" b="0" i="0">
                <a:latin typeface="TT Commons Pro" panose="020B0103030102020204" pitchFamily="34" charset="77"/>
                <a:cs typeface="Arial" panose="020B0604020202020204" pitchFamily="34" charset="0"/>
              </a:defRPr>
            </a:lvl1pPr>
          </a:lstStyle>
          <a:p>
            <a:pPr lvl="0"/>
            <a:r>
              <a:rPr lang="en-US"/>
              <a:t>Click to add text</a:t>
            </a:r>
          </a:p>
        </p:txBody>
      </p:sp>
      <p:pic>
        <p:nvPicPr>
          <p:cNvPr id="16" name="Picture 15" descr="A purple arrow pointing to a black background&#10;&#10;Description automatically generated">
            <a:extLst>
              <a:ext uri="{FF2B5EF4-FFF2-40B4-BE49-F238E27FC236}">
                <a16:creationId xmlns:a16="http://schemas.microsoft.com/office/drawing/2014/main" id="{330BE6F5-E2B5-CFC1-61D5-DFA2DA61E2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368" y="306203"/>
            <a:ext cx="586110" cy="586110"/>
          </a:xfrm>
          <a:prstGeom prst="rect">
            <a:avLst/>
          </a:prstGeom>
        </p:spPr>
      </p:pic>
    </p:spTree>
    <p:extLst>
      <p:ext uri="{BB962C8B-B14F-4D97-AF65-F5344CB8AC3E}">
        <p14:creationId xmlns:p14="http://schemas.microsoft.com/office/powerpoint/2010/main" val="8632854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2-Oran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7091916" y="399128"/>
            <a:ext cx="4713059" cy="5672063"/>
          </a:xfrm>
          <a:prstGeom prst="rect">
            <a:avLst/>
          </a:prstGeom>
          <a:solidFill>
            <a:srgbClr val="FFE5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pPr marL="7938" marR="0" lvl="0" indent="0" algn="l" defTabSz="914400" rtl="0" eaLnBrk="1" fontAlgn="auto" latinLnBrk="0" hangingPunct="1">
              <a:lnSpc>
                <a:spcPct val="90000"/>
              </a:lnSpc>
              <a:spcBef>
                <a:spcPts val="1000"/>
              </a:spcBef>
              <a:spcAft>
                <a:spcPts val="0"/>
              </a:spcAft>
              <a:buClrTx/>
              <a:buSzTx/>
              <a:buFontTx/>
              <a:buNone/>
              <a:tabLst/>
              <a:defRPr/>
            </a:pPr>
            <a:r>
              <a:rPr lang="en-GB"/>
              <a:t>Click to add picture or icon</a:t>
            </a:r>
          </a:p>
          <a:p>
            <a:endParaRPr lang="en-GB"/>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5"/>
                </a:solidFill>
              </a:defRPr>
            </a:lvl1pPr>
          </a:lstStyle>
          <a:p>
            <a:pPr lvl="0"/>
            <a:r>
              <a:rPr lang="en-US"/>
              <a:t>Tagline</a:t>
            </a:r>
          </a:p>
        </p:txBody>
      </p:sp>
      <p:sp>
        <p:nvSpPr>
          <p:cNvPr id="4" name="Picture Placeholder 9">
            <a:extLst>
              <a:ext uri="{FF2B5EF4-FFF2-40B4-BE49-F238E27FC236}">
                <a16:creationId xmlns:a16="http://schemas.microsoft.com/office/drawing/2014/main" id="{ADDC55DA-97F2-63EE-02EF-D4C44F0A819A}"/>
              </a:ext>
            </a:extLst>
          </p:cNvPr>
          <p:cNvSpPr>
            <a:spLocks noGrp="1"/>
          </p:cNvSpPr>
          <p:nvPr>
            <p:ph type="pic" sz="quarter" idx="13" hasCustomPrompt="1"/>
          </p:nvPr>
        </p:nvSpPr>
        <p:spPr>
          <a:xfrm>
            <a:off x="7603197" y="619303"/>
            <a:ext cx="3685708" cy="3605855"/>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
        <p:nvSpPr>
          <p:cNvPr id="8" name="Text Placeholder 7">
            <a:extLst>
              <a:ext uri="{FF2B5EF4-FFF2-40B4-BE49-F238E27FC236}">
                <a16:creationId xmlns:a16="http://schemas.microsoft.com/office/drawing/2014/main" id="{71519CB2-2A03-C1CE-6275-71B0D80F7AF3}"/>
              </a:ext>
            </a:extLst>
          </p:cNvPr>
          <p:cNvSpPr>
            <a:spLocks noGrp="1"/>
          </p:cNvSpPr>
          <p:nvPr>
            <p:ph type="body" sz="quarter" idx="19" hasCustomPrompt="1"/>
          </p:nvPr>
        </p:nvSpPr>
        <p:spPr>
          <a:xfrm>
            <a:off x="7315200" y="4447436"/>
            <a:ext cx="4284663"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9" name="Text Placeholder 7">
            <a:extLst>
              <a:ext uri="{FF2B5EF4-FFF2-40B4-BE49-F238E27FC236}">
                <a16:creationId xmlns:a16="http://schemas.microsoft.com/office/drawing/2014/main" id="{E85E9040-158F-7303-9FB7-A581ED183A55}"/>
              </a:ext>
            </a:extLst>
          </p:cNvPr>
          <p:cNvSpPr>
            <a:spLocks noGrp="1"/>
          </p:cNvSpPr>
          <p:nvPr>
            <p:ph type="body" sz="quarter" idx="20" hasCustomPrompt="1"/>
          </p:nvPr>
        </p:nvSpPr>
        <p:spPr>
          <a:xfrm>
            <a:off x="7315200" y="5236576"/>
            <a:ext cx="4284663" cy="700088"/>
          </a:xfrm>
        </p:spPr>
        <p:txBody>
          <a:bodyPr anchor="t">
            <a:normAutofit/>
          </a:bodyPr>
          <a:lstStyle>
            <a:lvl1pPr marL="0" indent="0">
              <a:buNone/>
              <a:defRPr sz="1600" b="0" i="0">
                <a:latin typeface="TT Commons Pro" panose="020B0103030102020204" pitchFamily="34" charset="77"/>
                <a:cs typeface="Arial" panose="020B0604020202020204" pitchFamily="34" charset="0"/>
              </a:defRPr>
            </a:lvl1pPr>
          </a:lstStyle>
          <a:p>
            <a:pPr lvl="0"/>
            <a:r>
              <a:rPr lang="en-US"/>
              <a:t>Click to add text</a:t>
            </a:r>
          </a:p>
        </p:txBody>
      </p:sp>
      <p:pic>
        <p:nvPicPr>
          <p:cNvPr id="16" name="Picture 15">
            <a:extLst>
              <a:ext uri="{FF2B5EF4-FFF2-40B4-BE49-F238E27FC236}">
                <a16:creationId xmlns:a16="http://schemas.microsoft.com/office/drawing/2014/main" id="{330BE6F5-E2B5-CFC1-61D5-DFA2DA61E2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288368" y="306203"/>
            <a:ext cx="586110" cy="586110"/>
          </a:xfrm>
          <a:prstGeom prst="rect">
            <a:avLst/>
          </a:prstGeom>
        </p:spPr>
      </p:pic>
    </p:spTree>
    <p:extLst>
      <p:ext uri="{BB962C8B-B14F-4D97-AF65-F5344CB8AC3E}">
        <p14:creationId xmlns:p14="http://schemas.microsoft.com/office/powerpoint/2010/main" val="41199057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2-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7091916" y="399128"/>
            <a:ext cx="4713059" cy="5672063"/>
          </a:xfrm>
          <a:prstGeom prst="rect">
            <a:avLst/>
          </a:prstGeom>
          <a:solidFill>
            <a:srgbClr val="E5E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pPr marL="7938" marR="0" lvl="0" indent="0" algn="l" defTabSz="914400" rtl="0" eaLnBrk="1" fontAlgn="auto" latinLnBrk="0" hangingPunct="1">
              <a:lnSpc>
                <a:spcPct val="90000"/>
              </a:lnSpc>
              <a:spcBef>
                <a:spcPts val="1000"/>
              </a:spcBef>
              <a:spcAft>
                <a:spcPts val="0"/>
              </a:spcAft>
              <a:buClrTx/>
              <a:buSzTx/>
              <a:buFontTx/>
              <a:buNone/>
              <a:tabLst/>
              <a:defRPr/>
            </a:pPr>
            <a:r>
              <a:rPr lang="en-GB"/>
              <a:t>Click to add picture or icon</a:t>
            </a:r>
          </a:p>
          <a:p>
            <a:endParaRPr lang="en-GB"/>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2"/>
                </a:solidFill>
              </a:defRPr>
            </a:lvl1pPr>
          </a:lstStyle>
          <a:p>
            <a:pPr lvl="0"/>
            <a:r>
              <a:rPr lang="en-US"/>
              <a:t>Tagline</a:t>
            </a:r>
          </a:p>
        </p:txBody>
      </p:sp>
      <p:sp>
        <p:nvSpPr>
          <p:cNvPr id="4" name="Picture Placeholder 9">
            <a:extLst>
              <a:ext uri="{FF2B5EF4-FFF2-40B4-BE49-F238E27FC236}">
                <a16:creationId xmlns:a16="http://schemas.microsoft.com/office/drawing/2014/main" id="{ADDC55DA-97F2-63EE-02EF-D4C44F0A819A}"/>
              </a:ext>
            </a:extLst>
          </p:cNvPr>
          <p:cNvSpPr>
            <a:spLocks noGrp="1"/>
          </p:cNvSpPr>
          <p:nvPr>
            <p:ph type="pic" sz="quarter" idx="13" hasCustomPrompt="1"/>
          </p:nvPr>
        </p:nvSpPr>
        <p:spPr>
          <a:xfrm>
            <a:off x="7603197" y="619303"/>
            <a:ext cx="3685708" cy="3605855"/>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
        <p:nvSpPr>
          <p:cNvPr id="8" name="Text Placeholder 7">
            <a:extLst>
              <a:ext uri="{FF2B5EF4-FFF2-40B4-BE49-F238E27FC236}">
                <a16:creationId xmlns:a16="http://schemas.microsoft.com/office/drawing/2014/main" id="{71519CB2-2A03-C1CE-6275-71B0D80F7AF3}"/>
              </a:ext>
            </a:extLst>
          </p:cNvPr>
          <p:cNvSpPr>
            <a:spLocks noGrp="1"/>
          </p:cNvSpPr>
          <p:nvPr>
            <p:ph type="body" sz="quarter" idx="19" hasCustomPrompt="1"/>
          </p:nvPr>
        </p:nvSpPr>
        <p:spPr>
          <a:xfrm>
            <a:off x="7315200" y="4447436"/>
            <a:ext cx="4284663"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9" name="Text Placeholder 7">
            <a:extLst>
              <a:ext uri="{FF2B5EF4-FFF2-40B4-BE49-F238E27FC236}">
                <a16:creationId xmlns:a16="http://schemas.microsoft.com/office/drawing/2014/main" id="{E85E9040-158F-7303-9FB7-A581ED183A55}"/>
              </a:ext>
            </a:extLst>
          </p:cNvPr>
          <p:cNvSpPr>
            <a:spLocks noGrp="1"/>
          </p:cNvSpPr>
          <p:nvPr>
            <p:ph type="body" sz="quarter" idx="20" hasCustomPrompt="1"/>
          </p:nvPr>
        </p:nvSpPr>
        <p:spPr>
          <a:xfrm>
            <a:off x="7315200" y="5236576"/>
            <a:ext cx="4284663" cy="700088"/>
          </a:xfrm>
        </p:spPr>
        <p:txBody>
          <a:bodyPr anchor="t">
            <a:normAutofit/>
          </a:bodyPr>
          <a:lstStyle>
            <a:lvl1pPr marL="0" indent="0">
              <a:buNone/>
              <a:defRPr sz="1600" b="0" i="0">
                <a:latin typeface="TT Commons Pro" panose="020B0103030102020204" pitchFamily="34" charset="77"/>
                <a:cs typeface="Arial" panose="020B0604020202020204" pitchFamily="34" charset="0"/>
              </a:defRPr>
            </a:lvl1pPr>
          </a:lstStyle>
          <a:p>
            <a:pPr lvl="0"/>
            <a:r>
              <a:rPr lang="en-US"/>
              <a:t>Click to add text</a:t>
            </a:r>
          </a:p>
        </p:txBody>
      </p:sp>
      <p:pic>
        <p:nvPicPr>
          <p:cNvPr id="16" name="Picture 15">
            <a:extLst>
              <a:ext uri="{FF2B5EF4-FFF2-40B4-BE49-F238E27FC236}">
                <a16:creationId xmlns:a16="http://schemas.microsoft.com/office/drawing/2014/main" id="{330BE6F5-E2B5-CFC1-61D5-DFA2DA61E2E5}"/>
              </a:ext>
            </a:extLst>
          </p:cNvPr>
          <p:cNvPicPr>
            <a:picLocks noChangeAspect="1"/>
          </p:cNvPicPr>
          <p:nvPr userDrawn="1"/>
        </p:nvPicPr>
        <p:blipFill>
          <a:blip r:embed="rId3"/>
          <a:srcRect/>
          <a:stretch/>
        </p:blipFill>
        <p:spPr>
          <a:xfrm>
            <a:off x="11288368" y="306203"/>
            <a:ext cx="586110" cy="586110"/>
          </a:xfrm>
          <a:prstGeom prst="rect">
            <a:avLst/>
          </a:prstGeom>
        </p:spPr>
      </p:pic>
    </p:spTree>
    <p:extLst>
      <p:ext uri="{BB962C8B-B14F-4D97-AF65-F5344CB8AC3E}">
        <p14:creationId xmlns:p14="http://schemas.microsoft.com/office/powerpoint/2010/main" val="42401618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Basic_1">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8" name="Rectangle 7">
            <a:extLst>
              <a:ext uri="{FF2B5EF4-FFF2-40B4-BE49-F238E27FC236}">
                <a16:creationId xmlns:a16="http://schemas.microsoft.com/office/drawing/2014/main" id="{4743F01E-C3CF-DE7E-96B1-25AE85E5F9BA}"/>
              </a:ext>
            </a:extLst>
          </p:cNvPr>
          <p:cNvSpPr/>
          <p:nvPr userDrawn="1"/>
        </p:nvSpPr>
        <p:spPr>
          <a:xfrm>
            <a:off x="9842573" y="0"/>
            <a:ext cx="2349427" cy="6858000"/>
          </a:xfrm>
          <a:prstGeom prst="rect">
            <a:avLst/>
          </a:prstGeom>
          <a:solidFill>
            <a:srgbClr val="F0F1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nchor="ct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2475666"/>
            <a:ext cx="9127218" cy="3721934"/>
          </a:xfrm>
          <a:prstGeom prst="rect">
            <a:avLst/>
          </a:prstGeo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Tree>
    <p:extLst>
      <p:ext uri="{BB962C8B-B14F-4D97-AF65-F5344CB8AC3E}">
        <p14:creationId xmlns:p14="http://schemas.microsoft.com/office/powerpoint/2010/main" val="20318244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Basic_2">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2475666"/>
            <a:ext cx="11253288" cy="3762872"/>
          </a:xfrm>
          <a:prstGeom prst="rect">
            <a:avLst/>
          </a:prstGeom>
        </p:spPr>
        <p:txBody>
          <a:bodyPr/>
          <a:lstStyle>
            <a:lvl1pPr marL="228600" indent="-228600">
              <a:buSzPct val="100000"/>
              <a:buFontTx/>
              <a:buBlip>
                <a:blip r:embed="rId3"/>
              </a:buBlip>
              <a:defRPr sz="1800" b="0" i="0"/>
            </a:lvl1pPr>
            <a:lvl2pPr marL="685800" indent="-228600">
              <a:buFontTx/>
              <a:buBlip>
                <a:blip r:embed="rId4"/>
              </a:buBlip>
              <a:defRPr sz="1800" b="0" i="0"/>
            </a:lvl2pPr>
            <a:lvl3pPr marL="1143000" indent="-228600">
              <a:buClr>
                <a:schemeClr val="accent1"/>
              </a:buClr>
              <a:buFont typeface="Wingdings" pitchFamily="2" charset="2"/>
              <a:buChar char="§"/>
              <a:defRPr sz="1400" b="0" i="0"/>
            </a:lvl3pPr>
            <a:lvl4pPr>
              <a:defRPr sz="1400" b="0" i="0"/>
            </a:lvl4pPr>
            <a:lvl5pPr>
              <a:buClr>
                <a:schemeClr val="accent1"/>
              </a:buCl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Tree>
    <p:extLst>
      <p:ext uri="{BB962C8B-B14F-4D97-AF65-F5344CB8AC3E}">
        <p14:creationId xmlns:p14="http://schemas.microsoft.com/office/powerpoint/2010/main" val="28562321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Content-Basic_2">
    <p:bg>
      <p:bgRef idx="1001">
        <a:schemeClr val="bg2"/>
      </p:bgRef>
    </p:bg>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2475666"/>
            <a:ext cx="11253288" cy="3762872"/>
          </a:xfrm>
          <a:prstGeom prst="rect">
            <a:avLst/>
          </a:prstGeom>
        </p:spPr>
        <p:txBody>
          <a:bodyPr/>
          <a:lstStyle>
            <a:lvl1pPr marL="228600" indent="-228600">
              <a:buSzPct val="100000"/>
              <a:buFontTx/>
              <a:buBlip>
                <a:blip r:embed="rId3"/>
              </a:buBlip>
              <a:defRPr sz="1800" b="0" i="0"/>
            </a:lvl1pPr>
            <a:lvl2pPr marL="742950" indent="-285750">
              <a:buClr>
                <a:schemeClr val="tx1"/>
              </a:buClr>
              <a:buFont typeface="Arial" panose="020B0604020202020204" pitchFamily="34" charset="0"/>
              <a:buChar char="•"/>
              <a:defRPr sz="1800" b="0" i="0"/>
            </a:lvl2pPr>
            <a:lvl3pPr marL="1143000" indent="-228600">
              <a:buClr>
                <a:schemeClr val="accent1"/>
              </a:buClr>
              <a:buFont typeface="Wingdings" pitchFamily="2" charset="2"/>
              <a:buChar char="§"/>
              <a:defRPr sz="1400" b="0" i="0"/>
            </a:lvl3pPr>
            <a:lvl4pPr>
              <a:defRPr sz="1400" b="0" i="0"/>
            </a:lvl4pPr>
            <a:lvl5pPr>
              <a:buClr>
                <a:schemeClr val="accent1"/>
              </a:buCl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pic>
        <p:nvPicPr>
          <p:cNvPr id="4" name="Picture 3">
            <a:extLst>
              <a:ext uri="{FF2B5EF4-FFF2-40B4-BE49-F238E27FC236}">
                <a16:creationId xmlns:a16="http://schemas.microsoft.com/office/drawing/2014/main" id="{E2833DBF-33D1-268D-B4B1-BA1E5543F64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Tree>
    <p:extLst>
      <p:ext uri="{BB962C8B-B14F-4D97-AF65-F5344CB8AC3E}">
        <p14:creationId xmlns:p14="http://schemas.microsoft.com/office/powerpoint/2010/main" val="748363522"/>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_2-Column">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3290370"/>
            <a:ext cx="5476239" cy="2948167"/>
          </a:xfrm>
          <a:prstGeom prst="rect">
            <a:avLst/>
          </a:prstGeom>
        </p:spPr>
        <p:txBody>
          <a:bodyPr>
            <a:normAutofit/>
          </a:bodyPr>
          <a:lstStyle>
            <a:lvl1pPr>
              <a:defRPr sz="2000" b="0" i="0"/>
            </a:lvl1pPr>
            <a:lvl2pPr>
              <a:defRPr sz="1800" b="0" i="0"/>
            </a:lvl2pPr>
            <a:lvl3pPr>
              <a:defRPr sz="1600" b="0" i="0"/>
            </a:lvl3pPr>
            <a:lvl4pPr>
              <a:defRPr sz="1400" b="0" i="0"/>
            </a:lvl4pPr>
            <a:lvl5pP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4" name="Text Placeholder 7">
            <a:extLst>
              <a:ext uri="{FF2B5EF4-FFF2-40B4-BE49-F238E27FC236}">
                <a16:creationId xmlns:a16="http://schemas.microsoft.com/office/drawing/2014/main" id="{2DDF25A2-B580-26FA-9A2F-E93EC38757C4}"/>
              </a:ext>
            </a:extLst>
          </p:cNvPr>
          <p:cNvSpPr>
            <a:spLocks noGrp="1"/>
          </p:cNvSpPr>
          <p:nvPr>
            <p:ph type="body" sz="quarter" idx="19" hasCustomPrompt="1"/>
          </p:nvPr>
        </p:nvSpPr>
        <p:spPr>
          <a:xfrm>
            <a:off x="365125" y="2465506"/>
            <a:ext cx="5486400"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6" name="Text Placeholder 7">
            <a:extLst>
              <a:ext uri="{FF2B5EF4-FFF2-40B4-BE49-F238E27FC236}">
                <a16:creationId xmlns:a16="http://schemas.microsoft.com/office/drawing/2014/main" id="{9B22E871-5D83-F461-1F4F-B7FC34A0C333}"/>
              </a:ext>
            </a:extLst>
          </p:cNvPr>
          <p:cNvSpPr>
            <a:spLocks noGrp="1"/>
          </p:cNvSpPr>
          <p:nvPr>
            <p:ph type="body" sz="quarter" idx="20" hasCustomPrompt="1"/>
          </p:nvPr>
        </p:nvSpPr>
        <p:spPr>
          <a:xfrm>
            <a:off x="6136004" y="2465506"/>
            <a:ext cx="5486400"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8" name="Content Placeholder 2">
            <a:extLst>
              <a:ext uri="{FF2B5EF4-FFF2-40B4-BE49-F238E27FC236}">
                <a16:creationId xmlns:a16="http://schemas.microsoft.com/office/drawing/2014/main" id="{ECD9E1DB-522A-9006-827C-01F3D0B4D39C}"/>
              </a:ext>
            </a:extLst>
          </p:cNvPr>
          <p:cNvSpPr>
            <a:spLocks noGrp="1"/>
          </p:cNvSpPr>
          <p:nvPr>
            <p:ph idx="21"/>
          </p:nvPr>
        </p:nvSpPr>
        <p:spPr>
          <a:xfrm>
            <a:off x="6142174" y="3290370"/>
            <a:ext cx="5476239" cy="2948167"/>
          </a:xfrm>
          <a:prstGeom prst="rect">
            <a:avLst/>
          </a:prstGeom>
        </p:spPr>
        <p:txBody>
          <a:bodyPr>
            <a:normAutofit/>
          </a:bodyPr>
          <a:lstStyle>
            <a:lvl1pPr>
              <a:defRPr sz="2000" b="0" i="0"/>
            </a:lvl1pPr>
            <a:lvl2pPr>
              <a:defRPr sz="1800" b="0" i="0"/>
            </a:lvl2pPr>
            <a:lvl3pPr>
              <a:defRPr sz="1600" b="0" i="0"/>
            </a:lvl3pPr>
            <a:lvl4pPr>
              <a:defRPr sz="1400" b="0" i="0"/>
            </a:lvl4pPr>
            <a:lvl5pP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70031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_3-Column">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3290370"/>
            <a:ext cx="3657600" cy="2948167"/>
          </a:xfrm>
          <a:prstGeom prst="rect">
            <a:avLst/>
          </a:prstGeom>
        </p:spPr>
        <p:txBody>
          <a:bodyPr>
            <a:normAutofit/>
          </a:bodyPr>
          <a:lstStyle>
            <a:lvl1pPr>
              <a:defRPr sz="2000" b="0" i="0"/>
            </a:lvl1pPr>
            <a:lvl2pPr>
              <a:defRPr sz="1800" b="0" i="0"/>
            </a:lvl2pPr>
            <a:lvl3pPr>
              <a:defRPr sz="1600" b="0" i="0"/>
            </a:lvl3pPr>
            <a:lvl4pPr>
              <a:defRPr sz="1400" b="0" i="0"/>
            </a:lvl4pPr>
            <a:lvl5pP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4" name="Text Placeholder 7">
            <a:extLst>
              <a:ext uri="{FF2B5EF4-FFF2-40B4-BE49-F238E27FC236}">
                <a16:creationId xmlns:a16="http://schemas.microsoft.com/office/drawing/2014/main" id="{2DDF25A2-B580-26FA-9A2F-E93EC38757C4}"/>
              </a:ext>
            </a:extLst>
          </p:cNvPr>
          <p:cNvSpPr>
            <a:spLocks noGrp="1"/>
          </p:cNvSpPr>
          <p:nvPr>
            <p:ph type="body" sz="quarter" idx="19" hasCustomPrompt="1"/>
          </p:nvPr>
        </p:nvSpPr>
        <p:spPr>
          <a:xfrm>
            <a:off x="365125" y="2465506"/>
            <a:ext cx="3657600"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6" name="Text Placeholder 7">
            <a:extLst>
              <a:ext uri="{FF2B5EF4-FFF2-40B4-BE49-F238E27FC236}">
                <a16:creationId xmlns:a16="http://schemas.microsoft.com/office/drawing/2014/main" id="{9B22E871-5D83-F461-1F4F-B7FC34A0C333}"/>
              </a:ext>
            </a:extLst>
          </p:cNvPr>
          <p:cNvSpPr>
            <a:spLocks noGrp="1"/>
          </p:cNvSpPr>
          <p:nvPr>
            <p:ph type="body" sz="quarter" idx="20" hasCustomPrompt="1"/>
          </p:nvPr>
        </p:nvSpPr>
        <p:spPr>
          <a:xfrm>
            <a:off x="4267200" y="2465506"/>
            <a:ext cx="3657600"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8" name="Content Placeholder 2">
            <a:extLst>
              <a:ext uri="{FF2B5EF4-FFF2-40B4-BE49-F238E27FC236}">
                <a16:creationId xmlns:a16="http://schemas.microsoft.com/office/drawing/2014/main" id="{ECD9E1DB-522A-9006-827C-01F3D0B4D39C}"/>
              </a:ext>
            </a:extLst>
          </p:cNvPr>
          <p:cNvSpPr>
            <a:spLocks noGrp="1"/>
          </p:cNvSpPr>
          <p:nvPr>
            <p:ph idx="21"/>
          </p:nvPr>
        </p:nvSpPr>
        <p:spPr>
          <a:xfrm>
            <a:off x="4267200" y="3290370"/>
            <a:ext cx="3657600" cy="2948167"/>
          </a:xfrm>
          <a:prstGeom prst="rect">
            <a:avLst/>
          </a:prstGeom>
        </p:spPr>
        <p:txBody>
          <a:bodyPr>
            <a:normAutofit/>
          </a:bodyPr>
          <a:lstStyle>
            <a:lvl1pPr>
              <a:defRPr sz="2000" b="0" i="0"/>
            </a:lvl1pPr>
            <a:lvl2pPr>
              <a:defRPr sz="1800" b="0" i="0"/>
            </a:lvl2pPr>
            <a:lvl3pPr>
              <a:defRPr sz="1600" b="0" i="0"/>
            </a:lvl3pPr>
            <a:lvl4pPr>
              <a:defRPr sz="1400" b="0" i="0"/>
            </a:lvl4pPr>
            <a:lvl5pP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a:extLst>
              <a:ext uri="{FF2B5EF4-FFF2-40B4-BE49-F238E27FC236}">
                <a16:creationId xmlns:a16="http://schemas.microsoft.com/office/drawing/2014/main" id="{02790664-71F4-7870-7E01-FEEC97F7B9FD}"/>
              </a:ext>
            </a:extLst>
          </p:cNvPr>
          <p:cNvSpPr>
            <a:spLocks noGrp="1"/>
          </p:cNvSpPr>
          <p:nvPr>
            <p:ph type="body" sz="quarter" idx="22" hasCustomPrompt="1"/>
          </p:nvPr>
        </p:nvSpPr>
        <p:spPr>
          <a:xfrm>
            <a:off x="8168640" y="2465506"/>
            <a:ext cx="3657600" cy="700088"/>
          </a:xfrm>
        </p:spPr>
        <p:txBody>
          <a:bodyPr anchor="b">
            <a:normAutofit/>
          </a:bodyPr>
          <a:lstStyle>
            <a:lvl1pPr marL="0" indent="0">
              <a:buNone/>
              <a:defRPr sz="2800" b="1" i="0">
                <a:latin typeface="Tiempos Headline Semibold" panose="02020703060303060403" pitchFamily="18" charset="77"/>
                <a:cs typeface="Times New Roman" panose="02020603050405020304" pitchFamily="18" charset="0"/>
              </a:defRPr>
            </a:lvl1pPr>
          </a:lstStyle>
          <a:p>
            <a:pPr lvl="0"/>
            <a:r>
              <a:rPr lang="en-US"/>
              <a:t>Click to add text</a:t>
            </a:r>
          </a:p>
        </p:txBody>
      </p:sp>
      <p:sp>
        <p:nvSpPr>
          <p:cNvPr id="10" name="Content Placeholder 2">
            <a:extLst>
              <a:ext uri="{FF2B5EF4-FFF2-40B4-BE49-F238E27FC236}">
                <a16:creationId xmlns:a16="http://schemas.microsoft.com/office/drawing/2014/main" id="{EC0A08ED-4BD9-C85F-B1F8-7997ACA09524}"/>
              </a:ext>
            </a:extLst>
          </p:cNvPr>
          <p:cNvSpPr>
            <a:spLocks noGrp="1"/>
          </p:cNvSpPr>
          <p:nvPr>
            <p:ph idx="23"/>
          </p:nvPr>
        </p:nvSpPr>
        <p:spPr>
          <a:xfrm>
            <a:off x="8168640" y="3290370"/>
            <a:ext cx="3657600" cy="2948167"/>
          </a:xfrm>
          <a:prstGeom prst="rect">
            <a:avLst/>
          </a:prstGeom>
        </p:spPr>
        <p:txBody>
          <a:bodyPr>
            <a:normAutofit/>
          </a:bodyPr>
          <a:lstStyle>
            <a:lvl1pPr>
              <a:defRPr sz="2000" b="0" i="0"/>
            </a:lvl1pPr>
            <a:lvl2pPr>
              <a:defRPr sz="1800" b="0" i="0"/>
            </a:lvl2pPr>
            <a:lvl3pPr>
              <a:defRPr sz="1600" b="0" i="0"/>
            </a:lvl3pPr>
            <a:lvl4pPr>
              <a:defRPr sz="1400" b="0" i="0"/>
            </a:lvl4pPr>
            <a:lvl5pPr>
              <a:defRPr sz="14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31847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Column_Stat-Icons_Green-Bars_Dark">
    <p:bg>
      <p:bgPr>
        <a:solidFill>
          <a:schemeClr val="tx2"/>
        </a:solidFill>
        <a:effectLst/>
      </p:bgPr>
    </p:bg>
    <p:spTree>
      <p:nvGrpSpPr>
        <p:cNvPr id="1" name=""/>
        <p:cNvGrpSpPr/>
        <p:nvPr/>
      </p:nvGrpSpPr>
      <p:grpSpPr>
        <a:xfrm>
          <a:off x="0" y="0"/>
          <a:ext cx="0" cy="0"/>
          <a:chOff x="0" y="0"/>
          <a:chExt cx="0" cy="0"/>
        </a:xfrm>
      </p:grpSpPr>
      <p:pic>
        <p:nvPicPr>
          <p:cNvPr id="19" name="Picture 18" descr="A black background with white dots&#10;&#10;Description automatically generated">
            <a:extLst>
              <a:ext uri="{FF2B5EF4-FFF2-40B4-BE49-F238E27FC236}">
                <a16:creationId xmlns:a16="http://schemas.microsoft.com/office/drawing/2014/main" id="{0E111689-10ED-DDE6-54B9-F4CC9CFD5E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pic>
        <p:nvPicPr>
          <p:cNvPr id="20" name="Picture 19" descr="A green stars on a black background&#10;&#10;Description automatically generated">
            <a:extLst>
              <a:ext uri="{FF2B5EF4-FFF2-40B4-BE49-F238E27FC236}">
                <a16:creationId xmlns:a16="http://schemas.microsoft.com/office/drawing/2014/main" id="{7347F71A-56FA-96D0-E264-24BE44149B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8173574"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8173574" cy="1325563"/>
          </a:xfrm>
          <a:prstGeom prst="rect">
            <a:avLst/>
          </a:prstGeom>
        </p:spPr>
        <p:txBody>
          <a:bodyPr/>
          <a:lstStyle>
            <a:lvl1pPr>
              <a:defRPr b="1" i="0">
                <a:solidFill>
                  <a:schemeClr val="bg1"/>
                </a:solidFill>
                <a:latin typeface="Tiempos Headline Semibold" panose="02020703060303060403" pitchFamily="18" charset="77"/>
              </a:defRPr>
            </a:lvl1pPr>
          </a:lstStyle>
          <a:p>
            <a:r>
              <a:rPr lang="en-US"/>
              <a:t>Click to add title</a:t>
            </a:r>
          </a:p>
        </p:txBody>
      </p:sp>
      <p:sp>
        <p:nvSpPr>
          <p:cNvPr id="12" name="Text Placeholder 7">
            <a:extLst>
              <a:ext uri="{FF2B5EF4-FFF2-40B4-BE49-F238E27FC236}">
                <a16:creationId xmlns:a16="http://schemas.microsoft.com/office/drawing/2014/main" id="{986EC309-37E0-FF5D-7A47-9206D7D4D926}"/>
              </a:ext>
            </a:extLst>
          </p:cNvPr>
          <p:cNvSpPr>
            <a:spLocks noGrp="1"/>
          </p:cNvSpPr>
          <p:nvPr>
            <p:ph type="body" sz="quarter" idx="20" hasCustomPrompt="1"/>
          </p:nvPr>
        </p:nvSpPr>
        <p:spPr>
          <a:xfrm>
            <a:off x="361461" y="3668507"/>
            <a:ext cx="3288176" cy="1325563"/>
          </a:xfrm>
        </p:spPr>
        <p:txBody>
          <a:bodyPr anchor="t">
            <a:normAutofit/>
          </a:bodyPr>
          <a:lstStyle>
            <a:lvl1pPr marL="0" indent="0">
              <a:buNone/>
              <a:defRPr sz="1800" b="0" i="0">
                <a:solidFill>
                  <a:schemeClr val="bg1"/>
                </a:solidFill>
                <a:latin typeface="TT Commons Pro" panose="020B0103030102020204" pitchFamily="34" charset="77"/>
                <a:cs typeface="Arial" panose="020B0604020202020204" pitchFamily="34" charset="0"/>
              </a:defRPr>
            </a:lvl1pPr>
          </a:lstStyle>
          <a:p>
            <a:pPr lvl="0"/>
            <a:r>
              <a:rPr lang="en-US"/>
              <a:t>Click to add text</a:t>
            </a:r>
          </a:p>
        </p:txBody>
      </p:sp>
      <p:sp>
        <p:nvSpPr>
          <p:cNvPr id="31" name="Rectangle 30">
            <a:extLst>
              <a:ext uri="{FF2B5EF4-FFF2-40B4-BE49-F238E27FC236}">
                <a16:creationId xmlns:a16="http://schemas.microsoft.com/office/drawing/2014/main" id="{242EDD7B-9039-EB67-7586-793F09DE781D}"/>
              </a:ext>
            </a:extLst>
          </p:cNvPr>
          <p:cNvSpPr/>
          <p:nvPr userDrawn="1"/>
        </p:nvSpPr>
        <p:spPr>
          <a:xfrm>
            <a:off x="3992370" y="2779059"/>
            <a:ext cx="91440" cy="221501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sp>
        <p:nvSpPr>
          <p:cNvPr id="34" name="Rectangle 33">
            <a:extLst>
              <a:ext uri="{FF2B5EF4-FFF2-40B4-BE49-F238E27FC236}">
                <a16:creationId xmlns:a16="http://schemas.microsoft.com/office/drawing/2014/main" id="{4F681A2D-6D6A-56FB-0B32-206B7DF47C36}"/>
              </a:ext>
            </a:extLst>
          </p:cNvPr>
          <p:cNvSpPr>
            <a:spLocks/>
          </p:cNvSpPr>
          <p:nvPr userDrawn="1"/>
        </p:nvSpPr>
        <p:spPr>
          <a:xfrm>
            <a:off x="8080508" y="2779059"/>
            <a:ext cx="91440" cy="221501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pic>
        <p:nvPicPr>
          <p:cNvPr id="13" name="Picture 12">
            <a:extLst>
              <a:ext uri="{FF2B5EF4-FFF2-40B4-BE49-F238E27FC236}">
                <a16:creationId xmlns:a16="http://schemas.microsoft.com/office/drawing/2014/main" id="{D56A8C7C-57D6-A65D-621D-98467B569D7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
        <p:nvSpPr>
          <p:cNvPr id="14" name="Picture Placeholder 17">
            <a:extLst>
              <a:ext uri="{FF2B5EF4-FFF2-40B4-BE49-F238E27FC236}">
                <a16:creationId xmlns:a16="http://schemas.microsoft.com/office/drawing/2014/main" id="{99D1DA5D-E392-4518-0B57-A01FB0E7FEDB}"/>
              </a:ext>
            </a:extLst>
          </p:cNvPr>
          <p:cNvSpPr>
            <a:spLocks noGrp="1"/>
          </p:cNvSpPr>
          <p:nvPr>
            <p:ph type="pic" sz="quarter" idx="17"/>
          </p:nvPr>
        </p:nvSpPr>
        <p:spPr>
          <a:xfrm>
            <a:off x="1625690"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9D463102-C7F8-2AFF-95A5-60CE811DCC8E}"/>
              </a:ext>
            </a:extLst>
          </p:cNvPr>
          <p:cNvSpPr>
            <a:spLocks noGrp="1"/>
          </p:cNvSpPr>
          <p:nvPr>
            <p:ph type="body" sz="quarter" idx="27" hasCustomPrompt="1"/>
          </p:nvPr>
        </p:nvSpPr>
        <p:spPr>
          <a:xfrm>
            <a:off x="4434697" y="3668507"/>
            <a:ext cx="3288176" cy="1325563"/>
          </a:xfrm>
        </p:spPr>
        <p:txBody>
          <a:bodyPr anchor="t">
            <a:normAutofit/>
          </a:bodyPr>
          <a:lstStyle>
            <a:lvl1pPr marL="0" indent="0">
              <a:buNone/>
              <a:defRPr sz="1800" b="0" i="0">
                <a:solidFill>
                  <a:schemeClr val="bg1"/>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64DD2F46-27A5-0DC0-CC59-E8BF4CCA616F}"/>
              </a:ext>
            </a:extLst>
          </p:cNvPr>
          <p:cNvSpPr>
            <a:spLocks noGrp="1"/>
          </p:cNvSpPr>
          <p:nvPr>
            <p:ph type="pic" sz="quarter" idx="28"/>
          </p:nvPr>
        </p:nvSpPr>
        <p:spPr>
          <a:xfrm>
            <a:off x="5698926"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60D2E4F9-A4B1-D59F-94F7-322FC56FEAE2}"/>
              </a:ext>
            </a:extLst>
          </p:cNvPr>
          <p:cNvSpPr>
            <a:spLocks noGrp="1"/>
          </p:cNvSpPr>
          <p:nvPr>
            <p:ph type="body" sz="quarter" idx="29" hasCustomPrompt="1"/>
          </p:nvPr>
        </p:nvSpPr>
        <p:spPr>
          <a:xfrm>
            <a:off x="8541185" y="3668507"/>
            <a:ext cx="3288176" cy="1325563"/>
          </a:xfrm>
        </p:spPr>
        <p:txBody>
          <a:bodyPr anchor="t">
            <a:normAutofit/>
          </a:bodyPr>
          <a:lstStyle>
            <a:lvl1pPr marL="0" indent="0">
              <a:buNone/>
              <a:defRPr sz="1800" b="0" i="0">
                <a:solidFill>
                  <a:schemeClr val="bg1"/>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B34A24EB-94B6-54D0-08C6-75B277212684}"/>
              </a:ext>
            </a:extLst>
          </p:cNvPr>
          <p:cNvSpPr>
            <a:spLocks noGrp="1"/>
          </p:cNvSpPr>
          <p:nvPr>
            <p:ph type="pic" sz="quarter" idx="30"/>
          </p:nvPr>
        </p:nvSpPr>
        <p:spPr>
          <a:xfrm>
            <a:off x="9805414" y="2781653"/>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Tree>
    <p:extLst>
      <p:ext uri="{BB962C8B-B14F-4D97-AF65-F5344CB8AC3E}">
        <p14:creationId xmlns:p14="http://schemas.microsoft.com/office/powerpoint/2010/main" val="11035206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Orange">
    <p:bg>
      <p:bgPr>
        <a:solidFill>
          <a:schemeClr val="accent5"/>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860ECBE-E206-3F84-DCD4-A82C158745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386" y="1600200"/>
            <a:ext cx="3350894" cy="2948787"/>
          </a:xfrm>
          <a:prstGeom prst="rect">
            <a:avLst/>
          </a:prstGeom>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122363"/>
            <a:ext cx="9539478" cy="2387600"/>
          </a:xfrm>
          <a:prstGeom prst="rect">
            <a:avLst/>
          </a:prstGeom>
        </p:spPr>
        <p:txBody>
          <a:bodyPr anchor="b">
            <a:normAutofit/>
          </a:bodyPr>
          <a:lstStyle>
            <a:lvl1pPr algn="l">
              <a:defRPr sz="52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602038"/>
            <a:ext cx="9539478" cy="1655762"/>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68D35621-169F-E7B3-3D5F-AAB64A00545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3" y="6188507"/>
            <a:ext cx="1346508" cy="609369"/>
          </a:xfrm>
          <a:prstGeom prst="rect">
            <a:avLst/>
          </a:prstGeom>
        </p:spPr>
      </p:pic>
    </p:spTree>
    <p:extLst>
      <p:ext uri="{BB962C8B-B14F-4D97-AF65-F5344CB8AC3E}">
        <p14:creationId xmlns:p14="http://schemas.microsoft.com/office/powerpoint/2010/main" val="29621331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Column_Stat-Icons_No-Bars_Dark">
    <p:bg>
      <p:bgPr>
        <a:solidFill>
          <a:schemeClr val="tx2"/>
        </a:solidFill>
        <a:effectLst/>
      </p:bgPr>
    </p:bg>
    <p:spTree>
      <p:nvGrpSpPr>
        <p:cNvPr id="1" name=""/>
        <p:cNvGrpSpPr/>
        <p:nvPr/>
      </p:nvGrpSpPr>
      <p:grpSpPr>
        <a:xfrm>
          <a:off x="0" y="0"/>
          <a:ext cx="0" cy="0"/>
          <a:chOff x="0" y="0"/>
          <a:chExt cx="0" cy="0"/>
        </a:xfrm>
      </p:grpSpPr>
      <p:pic>
        <p:nvPicPr>
          <p:cNvPr id="19" name="Picture 18" descr="A black background with white dots&#10;&#10;Description automatically generated">
            <a:extLst>
              <a:ext uri="{FF2B5EF4-FFF2-40B4-BE49-F238E27FC236}">
                <a16:creationId xmlns:a16="http://schemas.microsoft.com/office/drawing/2014/main" id="{0E111689-10ED-DDE6-54B9-F4CC9CFD5E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pic>
        <p:nvPicPr>
          <p:cNvPr id="20" name="Picture 19" descr="A green stars on a black background&#10;&#10;Description automatically generated">
            <a:extLst>
              <a:ext uri="{FF2B5EF4-FFF2-40B4-BE49-F238E27FC236}">
                <a16:creationId xmlns:a16="http://schemas.microsoft.com/office/drawing/2014/main" id="{7347F71A-56FA-96D0-E264-24BE44149B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8173574"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8173574" cy="1325563"/>
          </a:xfrm>
          <a:prstGeom prst="rect">
            <a:avLst/>
          </a:prstGeom>
        </p:spPr>
        <p:txBody>
          <a:bodyPr/>
          <a:lstStyle>
            <a:lvl1pPr>
              <a:defRPr b="1" i="0">
                <a:solidFill>
                  <a:schemeClr val="bg1"/>
                </a:solidFill>
                <a:latin typeface="Tiempos Headline Semibold" panose="02020703060303060403" pitchFamily="18" charset="77"/>
              </a:defRPr>
            </a:lvl1pPr>
          </a:lstStyle>
          <a:p>
            <a:r>
              <a:rPr lang="en-US"/>
              <a:t>Click to add title</a:t>
            </a:r>
          </a:p>
        </p:txBody>
      </p:sp>
      <p:sp>
        <p:nvSpPr>
          <p:cNvPr id="12" name="Text Placeholder 7">
            <a:extLst>
              <a:ext uri="{FF2B5EF4-FFF2-40B4-BE49-F238E27FC236}">
                <a16:creationId xmlns:a16="http://schemas.microsoft.com/office/drawing/2014/main" id="{986EC309-37E0-FF5D-7A47-9206D7D4D926}"/>
              </a:ext>
            </a:extLst>
          </p:cNvPr>
          <p:cNvSpPr>
            <a:spLocks noGrp="1"/>
          </p:cNvSpPr>
          <p:nvPr>
            <p:ph type="body" sz="quarter" idx="20" hasCustomPrompt="1"/>
          </p:nvPr>
        </p:nvSpPr>
        <p:spPr>
          <a:xfrm>
            <a:off x="361461" y="3668507"/>
            <a:ext cx="3288176" cy="1325563"/>
          </a:xfrm>
        </p:spPr>
        <p:txBody>
          <a:bodyPr anchor="t">
            <a:normAutofit/>
          </a:bodyPr>
          <a:lstStyle>
            <a:lvl1pPr marL="0" indent="0">
              <a:buNone/>
              <a:defRPr sz="1800" b="0" i="0">
                <a:solidFill>
                  <a:schemeClr val="bg1"/>
                </a:solidFill>
                <a:latin typeface="TT Commons Pro" panose="020B0103030102020204" pitchFamily="34" charset="77"/>
                <a:cs typeface="Arial" panose="020B0604020202020204" pitchFamily="34" charset="0"/>
              </a:defRPr>
            </a:lvl1pPr>
          </a:lstStyle>
          <a:p>
            <a:pPr lvl="0"/>
            <a:r>
              <a:rPr lang="en-US"/>
              <a:t>Click to add text</a:t>
            </a:r>
          </a:p>
        </p:txBody>
      </p:sp>
      <p:pic>
        <p:nvPicPr>
          <p:cNvPr id="13" name="Picture 12">
            <a:extLst>
              <a:ext uri="{FF2B5EF4-FFF2-40B4-BE49-F238E27FC236}">
                <a16:creationId xmlns:a16="http://schemas.microsoft.com/office/drawing/2014/main" id="{D56A8C7C-57D6-A65D-621D-98467B569D7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
        <p:nvSpPr>
          <p:cNvPr id="14" name="Picture Placeholder 17">
            <a:extLst>
              <a:ext uri="{FF2B5EF4-FFF2-40B4-BE49-F238E27FC236}">
                <a16:creationId xmlns:a16="http://schemas.microsoft.com/office/drawing/2014/main" id="{99D1DA5D-E392-4518-0B57-A01FB0E7FEDB}"/>
              </a:ext>
            </a:extLst>
          </p:cNvPr>
          <p:cNvSpPr>
            <a:spLocks noGrp="1"/>
          </p:cNvSpPr>
          <p:nvPr>
            <p:ph type="pic" sz="quarter" idx="17"/>
          </p:nvPr>
        </p:nvSpPr>
        <p:spPr>
          <a:xfrm>
            <a:off x="1625690"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9D463102-C7F8-2AFF-95A5-60CE811DCC8E}"/>
              </a:ext>
            </a:extLst>
          </p:cNvPr>
          <p:cNvSpPr>
            <a:spLocks noGrp="1"/>
          </p:cNvSpPr>
          <p:nvPr>
            <p:ph type="body" sz="quarter" idx="27" hasCustomPrompt="1"/>
          </p:nvPr>
        </p:nvSpPr>
        <p:spPr>
          <a:xfrm>
            <a:off x="4434697" y="3668507"/>
            <a:ext cx="3288176" cy="1325563"/>
          </a:xfrm>
        </p:spPr>
        <p:txBody>
          <a:bodyPr anchor="t">
            <a:normAutofit/>
          </a:bodyPr>
          <a:lstStyle>
            <a:lvl1pPr marL="0" indent="0">
              <a:buNone/>
              <a:defRPr sz="1800" b="0" i="0">
                <a:solidFill>
                  <a:schemeClr val="bg1"/>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64DD2F46-27A5-0DC0-CC59-E8BF4CCA616F}"/>
              </a:ext>
            </a:extLst>
          </p:cNvPr>
          <p:cNvSpPr>
            <a:spLocks noGrp="1"/>
          </p:cNvSpPr>
          <p:nvPr>
            <p:ph type="pic" sz="quarter" idx="28"/>
          </p:nvPr>
        </p:nvSpPr>
        <p:spPr>
          <a:xfrm>
            <a:off x="5698926"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60D2E4F9-A4B1-D59F-94F7-322FC56FEAE2}"/>
              </a:ext>
            </a:extLst>
          </p:cNvPr>
          <p:cNvSpPr>
            <a:spLocks noGrp="1"/>
          </p:cNvSpPr>
          <p:nvPr>
            <p:ph type="body" sz="quarter" idx="29" hasCustomPrompt="1"/>
          </p:nvPr>
        </p:nvSpPr>
        <p:spPr>
          <a:xfrm>
            <a:off x="8541185" y="3668507"/>
            <a:ext cx="3288176" cy="1325563"/>
          </a:xfrm>
        </p:spPr>
        <p:txBody>
          <a:bodyPr anchor="t">
            <a:normAutofit/>
          </a:bodyPr>
          <a:lstStyle>
            <a:lvl1pPr marL="0" indent="0">
              <a:buNone/>
              <a:defRPr sz="1800" b="0" i="0">
                <a:solidFill>
                  <a:schemeClr val="bg1"/>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B34A24EB-94B6-54D0-08C6-75B277212684}"/>
              </a:ext>
            </a:extLst>
          </p:cNvPr>
          <p:cNvSpPr>
            <a:spLocks noGrp="1"/>
          </p:cNvSpPr>
          <p:nvPr>
            <p:ph type="pic" sz="quarter" idx="30"/>
          </p:nvPr>
        </p:nvSpPr>
        <p:spPr>
          <a:xfrm>
            <a:off x="9805414" y="2781653"/>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Tree>
    <p:extLst>
      <p:ext uri="{BB962C8B-B14F-4D97-AF65-F5344CB8AC3E}">
        <p14:creationId xmlns:p14="http://schemas.microsoft.com/office/powerpoint/2010/main" val="31167800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_Stat-Icons_Green-Bars">
    <p:bg>
      <p:bgRef idx="1001">
        <a:schemeClr val="bg1"/>
      </p:bgRef>
    </p:bg>
    <p:spTree>
      <p:nvGrpSpPr>
        <p:cNvPr id="1" name=""/>
        <p:cNvGrpSpPr/>
        <p:nvPr/>
      </p:nvGrpSpPr>
      <p:grpSpPr>
        <a:xfrm>
          <a:off x="0" y="0"/>
          <a:ext cx="0" cy="0"/>
          <a:chOff x="0" y="0"/>
          <a:chExt cx="0" cy="0"/>
        </a:xfrm>
      </p:grpSpPr>
      <p:pic>
        <p:nvPicPr>
          <p:cNvPr id="19" name="Picture 18" descr="A black background with white dots&#10;&#10;Description automatically generated">
            <a:extLst>
              <a:ext uri="{FF2B5EF4-FFF2-40B4-BE49-F238E27FC236}">
                <a16:creationId xmlns:a16="http://schemas.microsoft.com/office/drawing/2014/main" id="{0E111689-10ED-DDE6-54B9-F4CC9CFD5E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pic>
        <p:nvPicPr>
          <p:cNvPr id="20" name="Picture 19" descr="A green stars on a black background&#10;&#10;Description automatically generated">
            <a:extLst>
              <a:ext uri="{FF2B5EF4-FFF2-40B4-BE49-F238E27FC236}">
                <a16:creationId xmlns:a16="http://schemas.microsoft.com/office/drawing/2014/main" id="{7347F71A-56FA-96D0-E264-24BE44149B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8173574"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8173574" cy="1325563"/>
          </a:xfrm>
          <a:prstGeom prst="rect">
            <a:avLst/>
          </a:prstGeom>
        </p:spPr>
        <p:txBody>
          <a:bodyPr/>
          <a:lstStyle>
            <a:lvl1pPr>
              <a:defRPr b="1" i="0">
                <a:solidFill>
                  <a:schemeClr val="tx2"/>
                </a:solidFill>
                <a:latin typeface="Tiempos Headline Semibold" panose="02020703060303060403" pitchFamily="18" charset="77"/>
              </a:defRPr>
            </a:lvl1pPr>
          </a:lstStyle>
          <a:p>
            <a:r>
              <a:rPr lang="en-US"/>
              <a:t>Click to add title</a:t>
            </a:r>
          </a:p>
        </p:txBody>
      </p:sp>
      <p:sp>
        <p:nvSpPr>
          <p:cNvPr id="12" name="Text Placeholder 7">
            <a:extLst>
              <a:ext uri="{FF2B5EF4-FFF2-40B4-BE49-F238E27FC236}">
                <a16:creationId xmlns:a16="http://schemas.microsoft.com/office/drawing/2014/main" id="{986EC309-37E0-FF5D-7A47-9206D7D4D926}"/>
              </a:ext>
            </a:extLst>
          </p:cNvPr>
          <p:cNvSpPr>
            <a:spLocks noGrp="1"/>
          </p:cNvSpPr>
          <p:nvPr>
            <p:ph type="body" sz="quarter" idx="20" hasCustomPrompt="1"/>
          </p:nvPr>
        </p:nvSpPr>
        <p:spPr>
          <a:xfrm>
            <a:off x="361461" y="3668507"/>
            <a:ext cx="3288176" cy="1325563"/>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31" name="Rectangle 30">
            <a:extLst>
              <a:ext uri="{FF2B5EF4-FFF2-40B4-BE49-F238E27FC236}">
                <a16:creationId xmlns:a16="http://schemas.microsoft.com/office/drawing/2014/main" id="{242EDD7B-9039-EB67-7586-793F09DE781D}"/>
              </a:ext>
            </a:extLst>
          </p:cNvPr>
          <p:cNvSpPr/>
          <p:nvPr userDrawn="1"/>
        </p:nvSpPr>
        <p:spPr>
          <a:xfrm>
            <a:off x="3992370" y="2779059"/>
            <a:ext cx="91440" cy="221501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sp>
        <p:nvSpPr>
          <p:cNvPr id="34" name="Rectangle 33">
            <a:extLst>
              <a:ext uri="{FF2B5EF4-FFF2-40B4-BE49-F238E27FC236}">
                <a16:creationId xmlns:a16="http://schemas.microsoft.com/office/drawing/2014/main" id="{4F681A2D-6D6A-56FB-0B32-206B7DF47C36}"/>
              </a:ext>
            </a:extLst>
          </p:cNvPr>
          <p:cNvSpPr>
            <a:spLocks/>
          </p:cNvSpPr>
          <p:nvPr userDrawn="1"/>
        </p:nvSpPr>
        <p:spPr>
          <a:xfrm>
            <a:off x="8080508" y="2779059"/>
            <a:ext cx="91440" cy="221501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panose="020B0103030102020204" pitchFamily="34" charset="77"/>
            </a:endParaRPr>
          </a:p>
        </p:txBody>
      </p:sp>
      <p:sp>
        <p:nvSpPr>
          <p:cNvPr id="14" name="Picture Placeholder 17">
            <a:extLst>
              <a:ext uri="{FF2B5EF4-FFF2-40B4-BE49-F238E27FC236}">
                <a16:creationId xmlns:a16="http://schemas.microsoft.com/office/drawing/2014/main" id="{99D1DA5D-E392-4518-0B57-A01FB0E7FEDB}"/>
              </a:ext>
            </a:extLst>
          </p:cNvPr>
          <p:cNvSpPr>
            <a:spLocks noGrp="1"/>
          </p:cNvSpPr>
          <p:nvPr>
            <p:ph type="pic" sz="quarter" idx="17"/>
          </p:nvPr>
        </p:nvSpPr>
        <p:spPr>
          <a:xfrm>
            <a:off x="1625690"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9D463102-C7F8-2AFF-95A5-60CE811DCC8E}"/>
              </a:ext>
            </a:extLst>
          </p:cNvPr>
          <p:cNvSpPr>
            <a:spLocks noGrp="1"/>
          </p:cNvSpPr>
          <p:nvPr>
            <p:ph type="body" sz="quarter" idx="27" hasCustomPrompt="1"/>
          </p:nvPr>
        </p:nvSpPr>
        <p:spPr>
          <a:xfrm>
            <a:off x="4434697" y="3668507"/>
            <a:ext cx="3288176" cy="1325563"/>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64DD2F46-27A5-0DC0-CC59-E8BF4CCA616F}"/>
              </a:ext>
            </a:extLst>
          </p:cNvPr>
          <p:cNvSpPr>
            <a:spLocks noGrp="1"/>
          </p:cNvSpPr>
          <p:nvPr>
            <p:ph type="pic" sz="quarter" idx="28"/>
          </p:nvPr>
        </p:nvSpPr>
        <p:spPr>
          <a:xfrm>
            <a:off x="5698926"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60D2E4F9-A4B1-D59F-94F7-322FC56FEAE2}"/>
              </a:ext>
            </a:extLst>
          </p:cNvPr>
          <p:cNvSpPr>
            <a:spLocks noGrp="1"/>
          </p:cNvSpPr>
          <p:nvPr>
            <p:ph type="body" sz="quarter" idx="29" hasCustomPrompt="1"/>
          </p:nvPr>
        </p:nvSpPr>
        <p:spPr>
          <a:xfrm>
            <a:off x="8541185" y="3668507"/>
            <a:ext cx="3288176" cy="1325563"/>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B34A24EB-94B6-54D0-08C6-75B277212684}"/>
              </a:ext>
            </a:extLst>
          </p:cNvPr>
          <p:cNvSpPr>
            <a:spLocks noGrp="1"/>
          </p:cNvSpPr>
          <p:nvPr>
            <p:ph type="pic" sz="quarter" idx="30"/>
          </p:nvPr>
        </p:nvSpPr>
        <p:spPr>
          <a:xfrm>
            <a:off x="9805414" y="2781653"/>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Tree>
    <p:extLst>
      <p:ext uri="{BB962C8B-B14F-4D97-AF65-F5344CB8AC3E}">
        <p14:creationId xmlns:p14="http://schemas.microsoft.com/office/powerpoint/2010/main" val="159584669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_Stat-Icons_No-Bars">
    <p:bg>
      <p:bgRef idx="1001">
        <a:schemeClr val="bg1"/>
      </p:bgRef>
    </p:bg>
    <p:spTree>
      <p:nvGrpSpPr>
        <p:cNvPr id="1" name=""/>
        <p:cNvGrpSpPr/>
        <p:nvPr/>
      </p:nvGrpSpPr>
      <p:grpSpPr>
        <a:xfrm>
          <a:off x="0" y="0"/>
          <a:ext cx="0" cy="0"/>
          <a:chOff x="0" y="0"/>
          <a:chExt cx="0" cy="0"/>
        </a:xfrm>
      </p:grpSpPr>
      <p:pic>
        <p:nvPicPr>
          <p:cNvPr id="19" name="Picture 18" descr="A black background with white dots&#10;&#10;Description automatically generated">
            <a:extLst>
              <a:ext uri="{FF2B5EF4-FFF2-40B4-BE49-F238E27FC236}">
                <a16:creationId xmlns:a16="http://schemas.microsoft.com/office/drawing/2014/main" id="{0E111689-10ED-DDE6-54B9-F4CC9CFD5E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pic>
        <p:nvPicPr>
          <p:cNvPr id="20" name="Picture 19" descr="A green stars on a black background&#10;&#10;Description automatically generated">
            <a:extLst>
              <a:ext uri="{FF2B5EF4-FFF2-40B4-BE49-F238E27FC236}">
                <a16:creationId xmlns:a16="http://schemas.microsoft.com/office/drawing/2014/main" id="{7347F71A-56FA-96D0-E264-24BE44149B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8173574"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8173574" cy="1325563"/>
          </a:xfrm>
          <a:prstGeom prst="rect">
            <a:avLst/>
          </a:prstGeom>
        </p:spPr>
        <p:txBody>
          <a:bodyPr/>
          <a:lstStyle>
            <a:lvl1pPr>
              <a:defRPr b="1" i="0">
                <a:solidFill>
                  <a:schemeClr val="tx2"/>
                </a:solidFill>
                <a:latin typeface="Tiempos Headline Semibold" panose="02020703060303060403" pitchFamily="18" charset="77"/>
              </a:defRPr>
            </a:lvl1pPr>
          </a:lstStyle>
          <a:p>
            <a:r>
              <a:rPr lang="en-US"/>
              <a:t>Click to add title</a:t>
            </a:r>
          </a:p>
        </p:txBody>
      </p:sp>
      <p:sp>
        <p:nvSpPr>
          <p:cNvPr id="12" name="Text Placeholder 7">
            <a:extLst>
              <a:ext uri="{FF2B5EF4-FFF2-40B4-BE49-F238E27FC236}">
                <a16:creationId xmlns:a16="http://schemas.microsoft.com/office/drawing/2014/main" id="{986EC309-37E0-FF5D-7A47-9206D7D4D926}"/>
              </a:ext>
            </a:extLst>
          </p:cNvPr>
          <p:cNvSpPr>
            <a:spLocks noGrp="1"/>
          </p:cNvSpPr>
          <p:nvPr>
            <p:ph type="body" sz="quarter" idx="20" hasCustomPrompt="1"/>
          </p:nvPr>
        </p:nvSpPr>
        <p:spPr>
          <a:xfrm>
            <a:off x="361461" y="3668507"/>
            <a:ext cx="3288176" cy="1325563"/>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4" name="Picture Placeholder 17">
            <a:extLst>
              <a:ext uri="{FF2B5EF4-FFF2-40B4-BE49-F238E27FC236}">
                <a16:creationId xmlns:a16="http://schemas.microsoft.com/office/drawing/2014/main" id="{99D1DA5D-E392-4518-0B57-A01FB0E7FEDB}"/>
              </a:ext>
            </a:extLst>
          </p:cNvPr>
          <p:cNvSpPr>
            <a:spLocks noGrp="1"/>
          </p:cNvSpPr>
          <p:nvPr>
            <p:ph type="pic" sz="quarter" idx="17"/>
          </p:nvPr>
        </p:nvSpPr>
        <p:spPr>
          <a:xfrm>
            <a:off x="1625690"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9D463102-C7F8-2AFF-95A5-60CE811DCC8E}"/>
              </a:ext>
            </a:extLst>
          </p:cNvPr>
          <p:cNvSpPr>
            <a:spLocks noGrp="1"/>
          </p:cNvSpPr>
          <p:nvPr>
            <p:ph type="body" sz="quarter" idx="27" hasCustomPrompt="1"/>
          </p:nvPr>
        </p:nvSpPr>
        <p:spPr>
          <a:xfrm>
            <a:off x="4434697" y="3668507"/>
            <a:ext cx="3288176" cy="1325563"/>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64DD2F46-27A5-0DC0-CC59-E8BF4CCA616F}"/>
              </a:ext>
            </a:extLst>
          </p:cNvPr>
          <p:cNvSpPr>
            <a:spLocks noGrp="1"/>
          </p:cNvSpPr>
          <p:nvPr>
            <p:ph type="pic" sz="quarter" idx="28"/>
          </p:nvPr>
        </p:nvSpPr>
        <p:spPr>
          <a:xfrm>
            <a:off x="5698926" y="2782354"/>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60D2E4F9-A4B1-D59F-94F7-322FC56FEAE2}"/>
              </a:ext>
            </a:extLst>
          </p:cNvPr>
          <p:cNvSpPr>
            <a:spLocks noGrp="1"/>
          </p:cNvSpPr>
          <p:nvPr>
            <p:ph type="body" sz="quarter" idx="29" hasCustomPrompt="1"/>
          </p:nvPr>
        </p:nvSpPr>
        <p:spPr>
          <a:xfrm>
            <a:off x="8541185" y="3668507"/>
            <a:ext cx="3288176" cy="1325563"/>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B34A24EB-94B6-54D0-08C6-75B277212684}"/>
              </a:ext>
            </a:extLst>
          </p:cNvPr>
          <p:cNvSpPr>
            <a:spLocks noGrp="1"/>
          </p:cNvSpPr>
          <p:nvPr>
            <p:ph type="pic" sz="quarter" idx="30"/>
          </p:nvPr>
        </p:nvSpPr>
        <p:spPr>
          <a:xfrm>
            <a:off x="9805414" y="2781653"/>
            <a:ext cx="759718" cy="759718"/>
          </a:xfrm>
          <a:prstGeom prst="ellipse">
            <a:avLst/>
          </a:prstGeom>
        </p:spPr>
        <p:txBody>
          <a:bodyPr>
            <a:normAutofit/>
          </a:bodyPr>
          <a:lstStyle>
            <a:lvl1pPr marL="7938" indent="0">
              <a:buNone/>
              <a:defRPr sz="800" b="0" i="0"/>
            </a:lvl1pPr>
          </a:lstStyle>
          <a:p>
            <a:r>
              <a:rPr lang="en-US"/>
              <a:t>Click icon to add picture</a:t>
            </a:r>
            <a:endParaRPr lang="en-GB"/>
          </a:p>
        </p:txBody>
      </p:sp>
    </p:spTree>
    <p:extLst>
      <p:ext uri="{BB962C8B-B14F-4D97-AF65-F5344CB8AC3E}">
        <p14:creationId xmlns:p14="http://schemas.microsoft.com/office/powerpoint/2010/main" val="36928911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Up_Icons">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b="14488"/>
          <a:stretch/>
        </p:blipFill>
        <p:spPr>
          <a:xfrm>
            <a:off x="8876338" y="-1932"/>
            <a:ext cx="3358526" cy="25215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3" name="Text Placeholder 7">
            <a:extLst>
              <a:ext uri="{FF2B5EF4-FFF2-40B4-BE49-F238E27FC236}">
                <a16:creationId xmlns:a16="http://schemas.microsoft.com/office/drawing/2014/main" id="{DD87AC56-4F62-189B-67C9-BC3E5047DFAD}"/>
              </a:ext>
            </a:extLst>
          </p:cNvPr>
          <p:cNvSpPr>
            <a:spLocks noGrp="1"/>
          </p:cNvSpPr>
          <p:nvPr>
            <p:ph type="body" sz="quarter" idx="20" hasCustomPrompt="1"/>
          </p:nvPr>
        </p:nvSpPr>
        <p:spPr>
          <a:xfrm>
            <a:off x="361461" y="338836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5" name="Picture Placeholder 17">
            <a:extLst>
              <a:ext uri="{FF2B5EF4-FFF2-40B4-BE49-F238E27FC236}">
                <a16:creationId xmlns:a16="http://schemas.microsoft.com/office/drawing/2014/main" id="{42FE090A-15F0-5A83-B0D0-B9E543D51223}"/>
              </a:ext>
            </a:extLst>
          </p:cNvPr>
          <p:cNvSpPr>
            <a:spLocks noGrp="1" noChangeAspect="1"/>
          </p:cNvSpPr>
          <p:nvPr>
            <p:ph type="pic" sz="quarter" idx="17"/>
          </p:nvPr>
        </p:nvSpPr>
        <p:spPr>
          <a:xfrm>
            <a:off x="1708369"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5" name="Text Placeholder 7">
            <a:extLst>
              <a:ext uri="{FF2B5EF4-FFF2-40B4-BE49-F238E27FC236}">
                <a16:creationId xmlns:a16="http://schemas.microsoft.com/office/drawing/2014/main" id="{9DE74D30-05E5-EF6A-DC4B-F4E59185F29A}"/>
              </a:ext>
            </a:extLst>
          </p:cNvPr>
          <p:cNvSpPr>
            <a:spLocks noGrp="1"/>
          </p:cNvSpPr>
          <p:nvPr>
            <p:ph type="body" sz="quarter" idx="31" hasCustomPrompt="1"/>
          </p:nvPr>
        </p:nvSpPr>
        <p:spPr>
          <a:xfrm>
            <a:off x="4451912" y="338836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6" name="Picture Placeholder 17">
            <a:extLst>
              <a:ext uri="{FF2B5EF4-FFF2-40B4-BE49-F238E27FC236}">
                <a16:creationId xmlns:a16="http://schemas.microsoft.com/office/drawing/2014/main" id="{6C2831F2-0D2B-7C8D-ABF4-9AFAFF66E9CD}"/>
              </a:ext>
            </a:extLst>
          </p:cNvPr>
          <p:cNvSpPr>
            <a:spLocks noGrp="1" noChangeAspect="1"/>
          </p:cNvSpPr>
          <p:nvPr>
            <p:ph type="pic" sz="quarter" idx="32"/>
          </p:nvPr>
        </p:nvSpPr>
        <p:spPr>
          <a:xfrm>
            <a:off x="5798820"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41431E49-D76F-8716-EA34-B37D51EBD1F3}"/>
              </a:ext>
            </a:extLst>
          </p:cNvPr>
          <p:cNvSpPr>
            <a:spLocks noGrp="1"/>
          </p:cNvSpPr>
          <p:nvPr>
            <p:ph type="body" sz="quarter" idx="33" hasCustomPrompt="1"/>
          </p:nvPr>
        </p:nvSpPr>
        <p:spPr>
          <a:xfrm>
            <a:off x="8542363" y="338836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850935AB-9446-75F0-C125-8F019F9A0BCC}"/>
              </a:ext>
            </a:extLst>
          </p:cNvPr>
          <p:cNvSpPr>
            <a:spLocks noGrp="1" noChangeAspect="1"/>
          </p:cNvSpPr>
          <p:nvPr>
            <p:ph type="pic" sz="quarter" idx="34"/>
          </p:nvPr>
        </p:nvSpPr>
        <p:spPr>
          <a:xfrm>
            <a:off x="9889271"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9" name="Text Placeholder 7">
            <a:extLst>
              <a:ext uri="{FF2B5EF4-FFF2-40B4-BE49-F238E27FC236}">
                <a16:creationId xmlns:a16="http://schemas.microsoft.com/office/drawing/2014/main" id="{24D0998C-5420-C950-A2A4-BEB2D3C1A9F0}"/>
              </a:ext>
            </a:extLst>
          </p:cNvPr>
          <p:cNvSpPr>
            <a:spLocks noGrp="1"/>
          </p:cNvSpPr>
          <p:nvPr>
            <p:ph type="body" sz="quarter" idx="35" hasCustomPrompt="1"/>
          </p:nvPr>
        </p:nvSpPr>
        <p:spPr>
          <a:xfrm>
            <a:off x="361461" y="527812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0" name="Picture Placeholder 17">
            <a:extLst>
              <a:ext uri="{FF2B5EF4-FFF2-40B4-BE49-F238E27FC236}">
                <a16:creationId xmlns:a16="http://schemas.microsoft.com/office/drawing/2014/main" id="{DA8B2A9B-A54B-9A0F-2ADB-D6DAED74A4EF}"/>
              </a:ext>
            </a:extLst>
          </p:cNvPr>
          <p:cNvSpPr>
            <a:spLocks noGrp="1" noChangeAspect="1"/>
          </p:cNvSpPr>
          <p:nvPr>
            <p:ph type="pic" sz="quarter" idx="36"/>
          </p:nvPr>
        </p:nvSpPr>
        <p:spPr>
          <a:xfrm>
            <a:off x="1708369"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7816CE32-3646-1271-3338-A4EB437451A9}"/>
              </a:ext>
            </a:extLst>
          </p:cNvPr>
          <p:cNvSpPr>
            <a:spLocks noGrp="1"/>
          </p:cNvSpPr>
          <p:nvPr>
            <p:ph type="body" sz="quarter" idx="37" hasCustomPrompt="1"/>
          </p:nvPr>
        </p:nvSpPr>
        <p:spPr>
          <a:xfrm>
            <a:off x="4451912" y="527812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3368AEE2-5D3D-BA00-EF8E-DEDAA4160E25}"/>
              </a:ext>
            </a:extLst>
          </p:cNvPr>
          <p:cNvSpPr>
            <a:spLocks noGrp="1" noChangeAspect="1"/>
          </p:cNvSpPr>
          <p:nvPr>
            <p:ph type="pic" sz="quarter" idx="38"/>
          </p:nvPr>
        </p:nvSpPr>
        <p:spPr>
          <a:xfrm>
            <a:off x="5798820"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3" name="Text Placeholder 7">
            <a:extLst>
              <a:ext uri="{FF2B5EF4-FFF2-40B4-BE49-F238E27FC236}">
                <a16:creationId xmlns:a16="http://schemas.microsoft.com/office/drawing/2014/main" id="{B9B898D1-E999-AE34-9794-4DBCDF322FF3}"/>
              </a:ext>
            </a:extLst>
          </p:cNvPr>
          <p:cNvSpPr>
            <a:spLocks noGrp="1"/>
          </p:cNvSpPr>
          <p:nvPr>
            <p:ph type="body" sz="quarter" idx="39" hasCustomPrompt="1"/>
          </p:nvPr>
        </p:nvSpPr>
        <p:spPr>
          <a:xfrm>
            <a:off x="8542363" y="527812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4" name="Picture Placeholder 17">
            <a:extLst>
              <a:ext uri="{FF2B5EF4-FFF2-40B4-BE49-F238E27FC236}">
                <a16:creationId xmlns:a16="http://schemas.microsoft.com/office/drawing/2014/main" id="{66220ACE-5F47-0870-55C5-2ADB56C9149E}"/>
              </a:ext>
            </a:extLst>
          </p:cNvPr>
          <p:cNvSpPr>
            <a:spLocks noGrp="1" noChangeAspect="1"/>
          </p:cNvSpPr>
          <p:nvPr>
            <p:ph type="pic" sz="quarter" idx="40"/>
          </p:nvPr>
        </p:nvSpPr>
        <p:spPr>
          <a:xfrm>
            <a:off x="9889271"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cxnSp>
        <p:nvCxnSpPr>
          <p:cNvPr id="26" name="Straight Connector 25">
            <a:extLst>
              <a:ext uri="{FF2B5EF4-FFF2-40B4-BE49-F238E27FC236}">
                <a16:creationId xmlns:a16="http://schemas.microsoft.com/office/drawing/2014/main" id="{E0E1CE8C-A55D-DF62-BC4E-86CF95A005F4}"/>
              </a:ext>
            </a:extLst>
          </p:cNvPr>
          <p:cNvCxnSpPr>
            <a:cxnSpLocks/>
          </p:cNvCxnSpPr>
          <p:nvPr userDrawn="1"/>
        </p:nvCxnSpPr>
        <p:spPr>
          <a:xfrm>
            <a:off x="361461" y="4338345"/>
            <a:ext cx="11469078" cy="0"/>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862ACD0-B1F3-C1AD-9D63-9D3F862E9BE1}"/>
              </a:ext>
            </a:extLst>
          </p:cNvPr>
          <p:cNvCxnSpPr>
            <a:cxnSpLocks/>
          </p:cNvCxnSpPr>
          <p:nvPr userDrawn="1"/>
        </p:nvCxnSpPr>
        <p:spPr>
          <a:xfrm>
            <a:off x="4047587" y="2558222"/>
            <a:ext cx="0" cy="3560247"/>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C8E46A08-9046-9A94-41D9-AD7A20EFE8EB}"/>
              </a:ext>
            </a:extLst>
          </p:cNvPr>
          <p:cNvCxnSpPr>
            <a:cxnSpLocks/>
          </p:cNvCxnSpPr>
          <p:nvPr userDrawn="1"/>
        </p:nvCxnSpPr>
        <p:spPr>
          <a:xfrm>
            <a:off x="8142067" y="2558222"/>
            <a:ext cx="0" cy="3560247"/>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611423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6-Up_Icons_Dark">
    <p:bg>
      <p:bgRef idx="1001">
        <a:schemeClr val="bg2"/>
      </p:bgRef>
    </p:bg>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b="14488"/>
          <a:stretch/>
        </p:blipFill>
        <p:spPr>
          <a:xfrm>
            <a:off x="8876338" y="-1932"/>
            <a:ext cx="3358526" cy="25215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3" name="Text Placeholder 7">
            <a:extLst>
              <a:ext uri="{FF2B5EF4-FFF2-40B4-BE49-F238E27FC236}">
                <a16:creationId xmlns:a16="http://schemas.microsoft.com/office/drawing/2014/main" id="{DD87AC56-4F62-189B-67C9-BC3E5047DFAD}"/>
              </a:ext>
            </a:extLst>
          </p:cNvPr>
          <p:cNvSpPr>
            <a:spLocks noGrp="1"/>
          </p:cNvSpPr>
          <p:nvPr>
            <p:ph type="body" sz="quarter" idx="20" hasCustomPrompt="1"/>
          </p:nvPr>
        </p:nvSpPr>
        <p:spPr>
          <a:xfrm>
            <a:off x="361461" y="338836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5" name="Picture Placeholder 17">
            <a:extLst>
              <a:ext uri="{FF2B5EF4-FFF2-40B4-BE49-F238E27FC236}">
                <a16:creationId xmlns:a16="http://schemas.microsoft.com/office/drawing/2014/main" id="{42FE090A-15F0-5A83-B0D0-B9E543D51223}"/>
              </a:ext>
            </a:extLst>
          </p:cNvPr>
          <p:cNvSpPr>
            <a:spLocks noGrp="1" noChangeAspect="1"/>
          </p:cNvSpPr>
          <p:nvPr>
            <p:ph type="pic" sz="quarter" idx="17"/>
          </p:nvPr>
        </p:nvSpPr>
        <p:spPr>
          <a:xfrm>
            <a:off x="1708369"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5" name="Text Placeholder 7">
            <a:extLst>
              <a:ext uri="{FF2B5EF4-FFF2-40B4-BE49-F238E27FC236}">
                <a16:creationId xmlns:a16="http://schemas.microsoft.com/office/drawing/2014/main" id="{9DE74D30-05E5-EF6A-DC4B-F4E59185F29A}"/>
              </a:ext>
            </a:extLst>
          </p:cNvPr>
          <p:cNvSpPr>
            <a:spLocks noGrp="1"/>
          </p:cNvSpPr>
          <p:nvPr>
            <p:ph type="body" sz="quarter" idx="31" hasCustomPrompt="1"/>
          </p:nvPr>
        </p:nvSpPr>
        <p:spPr>
          <a:xfrm>
            <a:off x="4451912" y="338836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6" name="Picture Placeholder 17">
            <a:extLst>
              <a:ext uri="{FF2B5EF4-FFF2-40B4-BE49-F238E27FC236}">
                <a16:creationId xmlns:a16="http://schemas.microsoft.com/office/drawing/2014/main" id="{6C2831F2-0D2B-7C8D-ABF4-9AFAFF66E9CD}"/>
              </a:ext>
            </a:extLst>
          </p:cNvPr>
          <p:cNvSpPr>
            <a:spLocks noGrp="1" noChangeAspect="1"/>
          </p:cNvSpPr>
          <p:nvPr>
            <p:ph type="pic" sz="quarter" idx="32"/>
          </p:nvPr>
        </p:nvSpPr>
        <p:spPr>
          <a:xfrm>
            <a:off x="5798820"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7" name="Text Placeholder 7">
            <a:extLst>
              <a:ext uri="{FF2B5EF4-FFF2-40B4-BE49-F238E27FC236}">
                <a16:creationId xmlns:a16="http://schemas.microsoft.com/office/drawing/2014/main" id="{41431E49-D76F-8716-EA34-B37D51EBD1F3}"/>
              </a:ext>
            </a:extLst>
          </p:cNvPr>
          <p:cNvSpPr>
            <a:spLocks noGrp="1"/>
          </p:cNvSpPr>
          <p:nvPr>
            <p:ph type="body" sz="quarter" idx="33" hasCustomPrompt="1"/>
          </p:nvPr>
        </p:nvSpPr>
        <p:spPr>
          <a:xfrm>
            <a:off x="8542363" y="338836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8" name="Picture Placeholder 17">
            <a:extLst>
              <a:ext uri="{FF2B5EF4-FFF2-40B4-BE49-F238E27FC236}">
                <a16:creationId xmlns:a16="http://schemas.microsoft.com/office/drawing/2014/main" id="{850935AB-9446-75F0-C125-8F019F9A0BCC}"/>
              </a:ext>
            </a:extLst>
          </p:cNvPr>
          <p:cNvSpPr>
            <a:spLocks noGrp="1" noChangeAspect="1"/>
          </p:cNvSpPr>
          <p:nvPr>
            <p:ph type="pic" sz="quarter" idx="34"/>
          </p:nvPr>
        </p:nvSpPr>
        <p:spPr>
          <a:xfrm>
            <a:off x="9889271"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9" name="Text Placeholder 7">
            <a:extLst>
              <a:ext uri="{FF2B5EF4-FFF2-40B4-BE49-F238E27FC236}">
                <a16:creationId xmlns:a16="http://schemas.microsoft.com/office/drawing/2014/main" id="{24D0998C-5420-C950-A2A4-BEB2D3C1A9F0}"/>
              </a:ext>
            </a:extLst>
          </p:cNvPr>
          <p:cNvSpPr>
            <a:spLocks noGrp="1"/>
          </p:cNvSpPr>
          <p:nvPr>
            <p:ph type="body" sz="quarter" idx="35" hasCustomPrompt="1"/>
          </p:nvPr>
        </p:nvSpPr>
        <p:spPr>
          <a:xfrm>
            <a:off x="361461" y="527812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0" name="Picture Placeholder 17">
            <a:extLst>
              <a:ext uri="{FF2B5EF4-FFF2-40B4-BE49-F238E27FC236}">
                <a16:creationId xmlns:a16="http://schemas.microsoft.com/office/drawing/2014/main" id="{DA8B2A9B-A54B-9A0F-2ADB-D6DAED74A4EF}"/>
              </a:ext>
            </a:extLst>
          </p:cNvPr>
          <p:cNvSpPr>
            <a:spLocks noGrp="1" noChangeAspect="1"/>
          </p:cNvSpPr>
          <p:nvPr>
            <p:ph type="pic" sz="quarter" idx="36"/>
          </p:nvPr>
        </p:nvSpPr>
        <p:spPr>
          <a:xfrm>
            <a:off x="1708369"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7816CE32-3646-1271-3338-A4EB437451A9}"/>
              </a:ext>
            </a:extLst>
          </p:cNvPr>
          <p:cNvSpPr>
            <a:spLocks noGrp="1"/>
          </p:cNvSpPr>
          <p:nvPr>
            <p:ph type="body" sz="quarter" idx="37" hasCustomPrompt="1"/>
          </p:nvPr>
        </p:nvSpPr>
        <p:spPr>
          <a:xfrm>
            <a:off x="4451912" y="527812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3368AEE2-5D3D-BA00-EF8E-DEDAA4160E25}"/>
              </a:ext>
            </a:extLst>
          </p:cNvPr>
          <p:cNvSpPr>
            <a:spLocks noGrp="1" noChangeAspect="1"/>
          </p:cNvSpPr>
          <p:nvPr>
            <p:ph type="pic" sz="quarter" idx="38"/>
          </p:nvPr>
        </p:nvSpPr>
        <p:spPr>
          <a:xfrm>
            <a:off x="5798820"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3" name="Text Placeholder 7">
            <a:extLst>
              <a:ext uri="{FF2B5EF4-FFF2-40B4-BE49-F238E27FC236}">
                <a16:creationId xmlns:a16="http://schemas.microsoft.com/office/drawing/2014/main" id="{B9B898D1-E999-AE34-9794-4DBCDF322FF3}"/>
              </a:ext>
            </a:extLst>
          </p:cNvPr>
          <p:cNvSpPr>
            <a:spLocks noGrp="1"/>
          </p:cNvSpPr>
          <p:nvPr>
            <p:ph type="body" sz="quarter" idx="39" hasCustomPrompt="1"/>
          </p:nvPr>
        </p:nvSpPr>
        <p:spPr>
          <a:xfrm>
            <a:off x="8542363" y="527812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4" name="Picture Placeholder 17">
            <a:extLst>
              <a:ext uri="{FF2B5EF4-FFF2-40B4-BE49-F238E27FC236}">
                <a16:creationId xmlns:a16="http://schemas.microsoft.com/office/drawing/2014/main" id="{66220ACE-5F47-0870-55C5-2ADB56C9149E}"/>
              </a:ext>
            </a:extLst>
          </p:cNvPr>
          <p:cNvSpPr>
            <a:spLocks noGrp="1" noChangeAspect="1"/>
          </p:cNvSpPr>
          <p:nvPr>
            <p:ph type="pic" sz="quarter" idx="40"/>
          </p:nvPr>
        </p:nvSpPr>
        <p:spPr>
          <a:xfrm>
            <a:off x="9889271"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cxnSp>
        <p:nvCxnSpPr>
          <p:cNvPr id="26" name="Straight Connector 25">
            <a:extLst>
              <a:ext uri="{FF2B5EF4-FFF2-40B4-BE49-F238E27FC236}">
                <a16:creationId xmlns:a16="http://schemas.microsoft.com/office/drawing/2014/main" id="{E0E1CE8C-A55D-DF62-BC4E-86CF95A005F4}"/>
              </a:ext>
            </a:extLst>
          </p:cNvPr>
          <p:cNvCxnSpPr>
            <a:cxnSpLocks/>
          </p:cNvCxnSpPr>
          <p:nvPr userDrawn="1"/>
        </p:nvCxnSpPr>
        <p:spPr>
          <a:xfrm>
            <a:off x="361461" y="4338345"/>
            <a:ext cx="11469078"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862ACD0-B1F3-C1AD-9D63-9D3F862E9BE1}"/>
              </a:ext>
            </a:extLst>
          </p:cNvPr>
          <p:cNvCxnSpPr>
            <a:cxnSpLocks/>
          </p:cNvCxnSpPr>
          <p:nvPr userDrawn="1"/>
        </p:nvCxnSpPr>
        <p:spPr>
          <a:xfrm>
            <a:off x="4047587" y="2558222"/>
            <a:ext cx="0" cy="356024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C8E46A08-9046-9A94-41D9-AD7A20EFE8EB}"/>
              </a:ext>
            </a:extLst>
          </p:cNvPr>
          <p:cNvCxnSpPr>
            <a:cxnSpLocks/>
          </p:cNvCxnSpPr>
          <p:nvPr userDrawn="1"/>
        </p:nvCxnSpPr>
        <p:spPr>
          <a:xfrm>
            <a:off x="8142067" y="2558222"/>
            <a:ext cx="0" cy="356024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2A4BBE03-AF00-960F-C061-15ABE26F2F5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Tree>
    <p:extLst>
      <p:ext uri="{BB962C8B-B14F-4D97-AF65-F5344CB8AC3E}">
        <p14:creationId xmlns:p14="http://schemas.microsoft.com/office/powerpoint/2010/main" val="2402056574"/>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Up_Icons">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3" name="Text Placeholder 7">
            <a:extLst>
              <a:ext uri="{FF2B5EF4-FFF2-40B4-BE49-F238E27FC236}">
                <a16:creationId xmlns:a16="http://schemas.microsoft.com/office/drawing/2014/main" id="{DD87AC56-4F62-189B-67C9-BC3E5047DFAD}"/>
              </a:ext>
            </a:extLst>
          </p:cNvPr>
          <p:cNvSpPr>
            <a:spLocks noGrp="1"/>
          </p:cNvSpPr>
          <p:nvPr>
            <p:ph type="body" sz="quarter" idx="20" hasCustomPrompt="1"/>
          </p:nvPr>
        </p:nvSpPr>
        <p:spPr>
          <a:xfrm>
            <a:off x="2389433" y="338836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5" name="Picture Placeholder 17">
            <a:extLst>
              <a:ext uri="{FF2B5EF4-FFF2-40B4-BE49-F238E27FC236}">
                <a16:creationId xmlns:a16="http://schemas.microsoft.com/office/drawing/2014/main" id="{42FE090A-15F0-5A83-B0D0-B9E543D51223}"/>
              </a:ext>
            </a:extLst>
          </p:cNvPr>
          <p:cNvSpPr>
            <a:spLocks noGrp="1" noChangeAspect="1"/>
          </p:cNvSpPr>
          <p:nvPr>
            <p:ph type="pic" sz="quarter" idx="17"/>
          </p:nvPr>
        </p:nvSpPr>
        <p:spPr>
          <a:xfrm>
            <a:off x="3736341"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5" name="Text Placeholder 7">
            <a:extLst>
              <a:ext uri="{FF2B5EF4-FFF2-40B4-BE49-F238E27FC236}">
                <a16:creationId xmlns:a16="http://schemas.microsoft.com/office/drawing/2014/main" id="{9DE74D30-05E5-EF6A-DC4B-F4E59185F29A}"/>
              </a:ext>
            </a:extLst>
          </p:cNvPr>
          <p:cNvSpPr>
            <a:spLocks noGrp="1"/>
          </p:cNvSpPr>
          <p:nvPr>
            <p:ph type="body" sz="quarter" idx="31" hasCustomPrompt="1"/>
          </p:nvPr>
        </p:nvSpPr>
        <p:spPr>
          <a:xfrm>
            <a:off x="6514392" y="338836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6" name="Picture Placeholder 17">
            <a:extLst>
              <a:ext uri="{FF2B5EF4-FFF2-40B4-BE49-F238E27FC236}">
                <a16:creationId xmlns:a16="http://schemas.microsoft.com/office/drawing/2014/main" id="{6C2831F2-0D2B-7C8D-ABF4-9AFAFF66E9CD}"/>
              </a:ext>
            </a:extLst>
          </p:cNvPr>
          <p:cNvSpPr>
            <a:spLocks noGrp="1" noChangeAspect="1"/>
          </p:cNvSpPr>
          <p:nvPr>
            <p:ph type="pic" sz="quarter" idx="32"/>
          </p:nvPr>
        </p:nvSpPr>
        <p:spPr>
          <a:xfrm>
            <a:off x="7861300" y="262934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9" name="Text Placeholder 7">
            <a:extLst>
              <a:ext uri="{FF2B5EF4-FFF2-40B4-BE49-F238E27FC236}">
                <a16:creationId xmlns:a16="http://schemas.microsoft.com/office/drawing/2014/main" id="{24D0998C-5420-C950-A2A4-BEB2D3C1A9F0}"/>
              </a:ext>
            </a:extLst>
          </p:cNvPr>
          <p:cNvSpPr>
            <a:spLocks noGrp="1"/>
          </p:cNvSpPr>
          <p:nvPr>
            <p:ph type="body" sz="quarter" idx="35" hasCustomPrompt="1"/>
          </p:nvPr>
        </p:nvSpPr>
        <p:spPr>
          <a:xfrm>
            <a:off x="2389433" y="527812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0" name="Picture Placeholder 17">
            <a:extLst>
              <a:ext uri="{FF2B5EF4-FFF2-40B4-BE49-F238E27FC236}">
                <a16:creationId xmlns:a16="http://schemas.microsoft.com/office/drawing/2014/main" id="{DA8B2A9B-A54B-9A0F-2ADB-D6DAED74A4EF}"/>
              </a:ext>
            </a:extLst>
          </p:cNvPr>
          <p:cNvSpPr>
            <a:spLocks noGrp="1" noChangeAspect="1"/>
          </p:cNvSpPr>
          <p:nvPr>
            <p:ph type="pic" sz="quarter" idx="36"/>
          </p:nvPr>
        </p:nvSpPr>
        <p:spPr>
          <a:xfrm>
            <a:off x="3736341"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1" name="Text Placeholder 7">
            <a:extLst>
              <a:ext uri="{FF2B5EF4-FFF2-40B4-BE49-F238E27FC236}">
                <a16:creationId xmlns:a16="http://schemas.microsoft.com/office/drawing/2014/main" id="{7816CE32-3646-1271-3338-A4EB437451A9}"/>
              </a:ext>
            </a:extLst>
          </p:cNvPr>
          <p:cNvSpPr>
            <a:spLocks noGrp="1"/>
          </p:cNvSpPr>
          <p:nvPr>
            <p:ph type="body" sz="quarter" idx="37" hasCustomPrompt="1"/>
          </p:nvPr>
        </p:nvSpPr>
        <p:spPr>
          <a:xfrm>
            <a:off x="6514392" y="5278120"/>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22" name="Picture Placeholder 17">
            <a:extLst>
              <a:ext uri="{FF2B5EF4-FFF2-40B4-BE49-F238E27FC236}">
                <a16:creationId xmlns:a16="http://schemas.microsoft.com/office/drawing/2014/main" id="{3368AEE2-5D3D-BA00-EF8E-DEDAA4160E25}"/>
              </a:ext>
            </a:extLst>
          </p:cNvPr>
          <p:cNvSpPr>
            <a:spLocks noGrp="1" noChangeAspect="1"/>
          </p:cNvSpPr>
          <p:nvPr>
            <p:ph type="pic" sz="quarter" idx="38"/>
          </p:nvPr>
        </p:nvSpPr>
        <p:spPr>
          <a:xfrm>
            <a:off x="7861300" y="4519102"/>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cxnSp>
        <p:nvCxnSpPr>
          <p:cNvPr id="26" name="Straight Connector 25">
            <a:extLst>
              <a:ext uri="{FF2B5EF4-FFF2-40B4-BE49-F238E27FC236}">
                <a16:creationId xmlns:a16="http://schemas.microsoft.com/office/drawing/2014/main" id="{E0E1CE8C-A55D-DF62-BC4E-86CF95A005F4}"/>
              </a:ext>
            </a:extLst>
          </p:cNvPr>
          <p:cNvCxnSpPr>
            <a:cxnSpLocks/>
          </p:cNvCxnSpPr>
          <p:nvPr userDrawn="1"/>
        </p:nvCxnSpPr>
        <p:spPr>
          <a:xfrm>
            <a:off x="2271677" y="4338345"/>
            <a:ext cx="7648647" cy="0"/>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862ACD0-B1F3-C1AD-9D63-9D3F862E9BE1}"/>
              </a:ext>
            </a:extLst>
          </p:cNvPr>
          <p:cNvCxnSpPr>
            <a:cxnSpLocks/>
          </p:cNvCxnSpPr>
          <p:nvPr userDrawn="1"/>
        </p:nvCxnSpPr>
        <p:spPr>
          <a:xfrm>
            <a:off x="6096000" y="2558222"/>
            <a:ext cx="0" cy="3560247"/>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40467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Up_Icons">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3" name="Text Placeholder 7">
            <a:extLst>
              <a:ext uri="{FF2B5EF4-FFF2-40B4-BE49-F238E27FC236}">
                <a16:creationId xmlns:a16="http://schemas.microsoft.com/office/drawing/2014/main" id="{DD87AC56-4F62-189B-67C9-BC3E5047DFAD}"/>
              </a:ext>
            </a:extLst>
          </p:cNvPr>
          <p:cNvSpPr>
            <a:spLocks noGrp="1"/>
          </p:cNvSpPr>
          <p:nvPr>
            <p:ph type="body" sz="quarter" idx="20" hasCustomPrompt="1"/>
          </p:nvPr>
        </p:nvSpPr>
        <p:spPr>
          <a:xfrm>
            <a:off x="2389433" y="3866785"/>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5" name="Picture Placeholder 17">
            <a:extLst>
              <a:ext uri="{FF2B5EF4-FFF2-40B4-BE49-F238E27FC236}">
                <a16:creationId xmlns:a16="http://schemas.microsoft.com/office/drawing/2014/main" id="{42FE090A-15F0-5A83-B0D0-B9E543D51223}"/>
              </a:ext>
            </a:extLst>
          </p:cNvPr>
          <p:cNvSpPr>
            <a:spLocks noGrp="1" noChangeAspect="1"/>
          </p:cNvSpPr>
          <p:nvPr>
            <p:ph type="pic" sz="quarter" idx="17"/>
          </p:nvPr>
        </p:nvSpPr>
        <p:spPr>
          <a:xfrm>
            <a:off x="3736341" y="3107767"/>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5" name="Text Placeholder 7">
            <a:extLst>
              <a:ext uri="{FF2B5EF4-FFF2-40B4-BE49-F238E27FC236}">
                <a16:creationId xmlns:a16="http://schemas.microsoft.com/office/drawing/2014/main" id="{9DE74D30-05E5-EF6A-DC4B-F4E59185F29A}"/>
              </a:ext>
            </a:extLst>
          </p:cNvPr>
          <p:cNvSpPr>
            <a:spLocks noGrp="1"/>
          </p:cNvSpPr>
          <p:nvPr>
            <p:ph type="body" sz="quarter" idx="31" hasCustomPrompt="1"/>
          </p:nvPr>
        </p:nvSpPr>
        <p:spPr>
          <a:xfrm>
            <a:off x="6514392" y="3866785"/>
            <a:ext cx="3288176" cy="759718"/>
          </a:xfrm>
        </p:spPr>
        <p:txBody>
          <a:bodyPr anchor="t">
            <a:normAutofit/>
          </a:bodyPr>
          <a:lstStyle>
            <a:lvl1pPr marL="0" indent="0">
              <a:buNone/>
              <a:defRPr sz="1800" b="0" i="0">
                <a:solidFill>
                  <a:schemeClr val="tx2"/>
                </a:solidFill>
                <a:latin typeface="TT Commons Pro" panose="020B0103030102020204" pitchFamily="34" charset="77"/>
                <a:cs typeface="Arial" panose="020B0604020202020204" pitchFamily="34" charset="0"/>
              </a:defRPr>
            </a:lvl1pPr>
          </a:lstStyle>
          <a:p>
            <a:pPr lvl="0"/>
            <a:r>
              <a:rPr lang="en-US"/>
              <a:t>Click to add text</a:t>
            </a:r>
          </a:p>
        </p:txBody>
      </p:sp>
      <p:sp>
        <p:nvSpPr>
          <p:cNvPr id="16" name="Picture Placeholder 17">
            <a:extLst>
              <a:ext uri="{FF2B5EF4-FFF2-40B4-BE49-F238E27FC236}">
                <a16:creationId xmlns:a16="http://schemas.microsoft.com/office/drawing/2014/main" id="{6C2831F2-0D2B-7C8D-ABF4-9AFAFF66E9CD}"/>
              </a:ext>
            </a:extLst>
          </p:cNvPr>
          <p:cNvSpPr>
            <a:spLocks noGrp="1" noChangeAspect="1"/>
          </p:cNvSpPr>
          <p:nvPr>
            <p:ph type="pic" sz="quarter" idx="32"/>
          </p:nvPr>
        </p:nvSpPr>
        <p:spPr>
          <a:xfrm>
            <a:off x="7861300" y="3107767"/>
            <a:ext cx="594360" cy="594360"/>
          </a:xfrm>
          <a:prstGeom prst="ellipse">
            <a:avLst/>
          </a:prstGeom>
        </p:spPr>
        <p:txBody>
          <a:bodyPr>
            <a:normAutofit/>
          </a:bodyPr>
          <a:lstStyle>
            <a:lvl1pPr marL="7938" indent="0">
              <a:buNone/>
              <a:defRPr sz="800" b="0" i="0"/>
            </a:lvl1pPr>
          </a:lstStyle>
          <a:p>
            <a:r>
              <a:rPr lang="en-US"/>
              <a:t>Click icon to add picture</a:t>
            </a:r>
            <a:endParaRPr lang="en-GB"/>
          </a:p>
        </p:txBody>
      </p:sp>
      <p:cxnSp>
        <p:nvCxnSpPr>
          <p:cNvPr id="27" name="Straight Connector 26">
            <a:extLst>
              <a:ext uri="{FF2B5EF4-FFF2-40B4-BE49-F238E27FC236}">
                <a16:creationId xmlns:a16="http://schemas.microsoft.com/office/drawing/2014/main" id="{E862ACD0-B1F3-C1AD-9D63-9D3F862E9BE1}"/>
              </a:ext>
            </a:extLst>
          </p:cNvPr>
          <p:cNvCxnSpPr>
            <a:cxnSpLocks/>
          </p:cNvCxnSpPr>
          <p:nvPr userDrawn="1"/>
        </p:nvCxnSpPr>
        <p:spPr>
          <a:xfrm>
            <a:off x="6096000" y="2946855"/>
            <a:ext cx="0" cy="2051865"/>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316303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681997" y="1681843"/>
            <a:ext cx="8281035" cy="2432957"/>
          </a:xfrm>
          <a:prstGeom prst="rect">
            <a:avLst/>
          </a:prstGeom>
        </p:spPr>
        <p:txBody>
          <a:bodyPr>
            <a:normAutofit/>
          </a:bodyPr>
          <a:lstStyle>
            <a:lvl1pPr>
              <a:defRPr sz="4400" b="1" i="0">
                <a:solidFill>
                  <a:schemeClr val="bg1"/>
                </a:solidFill>
                <a:latin typeface="Tiempos Headline Semibold" panose="02020703060303060403" pitchFamily="18" charset="77"/>
              </a:defRPr>
            </a:lvl1pPr>
          </a:lstStyle>
          <a:p>
            <a:r>
              <a:rPr lang="en-US"/>
              <a:t>Click to add a quote, the length of which should be approximately three to four lines of text</a:t>
            </a:r>
          </a:p>
        </p:txBody>
      </p:sp>
      <p:pic>
        <p:nvPicPr>
          <p:cNvPr id="8" name="Picture 7">
            <a:extLst>
              <a:ext uri="{FF2B5EF4-FFF2-40B4-BE49-F238E27FC236}">
                <a16:creationId xmlns:a16="http://schemas.microsoft.com/office/drawing/2014/main" id="{5369616A-4F10-7A23-C878-46DEA18BFD2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05538" y="543100"/>
            <a:ext cx="319173" cy="359070"/>
          </a:xfrm>
          <a:prstGeom prst="rect">
            <a:avLst/>
          </a:prstGeom>
        </p:spPr>
      </p:pic>
      <p:pic>
        <p:nvPicPr>
          <p:cNvPr id="13" name="Picture 12">
            <a:extLst>
              <a:ext uri="{FF2B5EF4-FFF2-40B4-BE49-F238E27FC236}">
                <a16:creationId xmlns:a16="http://schemas.microsoft.com/office/drawing/2014/main" id="{D56A8C7C-57D6-A65D-621D-98467B569D7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
        <p:nvSpPr>
          <p:cNvPr id="4" name="Subtitle 2">
            <a:extLst>
              <a:ext uri="{FF2B5EF4-FFF2-40B4-BE49-F238E27FC236}">
                <a16:creationId xmlns:a16="http://schemas.microsoft.com/office/drawing/2014/main" id="{DEFA0304-E8A9-9A1F-FE0B-92CB370CB164}"/>
              </a:ext>
            </a:extLst>
          </p:cNvPr>
          <p:cNvSpPr>
            <a:spLocks noGrp="1"/>
          </p:cNvSpPr>
          <p:nvPr>
            <p:ph type="subTitle" idx="1" hasCustomPrompt="1"/>
          </p:nvPr>
        </p:nvSpPr>
        <p:spPr>
          <a:xfrm>
            <a:off x="682632" y="4252975"/>
            <a:ext cx="8280400" cy="945016"/>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attribution</a:t>
            </a:r>
          </a:p>
        </p:txBody>
      </p:sp>
      <p:pic>
        <p:nvPicPr>
          <p:cNvPr id="3" name="Picture 2" descr="A black background with white dots&#10;&#10;Description automatically generated">
            <a:extLst>
              <a:ext uri="{FF2B5EF4-FFF2-40B4-BE49-F238E27FC236}">
                <a16:creationId xmlns:a16="http://schemas.microsoft.com/office/drawing/2014/main" id="{03F91449-4487-9F5B-258C-945288EF032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pic>
        <p:nvPicPr>
          <p:cNvPr id="7" name="Picture 6" descr="A green stars on a black background&#10;&#10;Description automatically generated">
            <a:extLst>
              <a:ext uri="{FF2B5EF4-FFF2-40B4-BE49-F238E27FC236}">
                <a16:creationId xmlns:a16="http://schemas.microsoft.com/office/drawing/2014/main" id="{5B595F31-0DF6-4408-737A-EA9434B82C3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Tree>
    <p:extLst>
      <p:ext uri="{BB962C8B-B14F-4D97-AF65-F5344CB8AC3E}">
        <p14:creationId xmlns:p14="http://schemas.microsoft.com/office/powerpoint/2010/main" val="36162019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Quote+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F120E55-F6C2-E7EE-DD47-CAF4E96FB868}"/>
              </a:ext>
            </a:extLst>
          </p:cNvPr>
          <p:cNvSpPr>
            <a:spLocks noGrp="1"/>
          </p:cNvSpPr>
          <p:nvPr>
            <p:ph type="pic" sz="quarter" idx="31" hasCustomPrompt="1"/>
          </p:nvPr>
        </p:nvSpPr>
        <p:spPr>
          <a:xfrm>
            <a:off x="6878824" y="-1"/>
            <a:ext cx="5313176" cy="6860407"/>
          </a:xfrm>
          <a:solidFill>
            <a:srgbClr val="FFFFFF"/>
          </a:solidFill>
        </p:spPr>
        <p:txBody>
          <a:bodyPr>
            <a:normAutofit/>
          </a:bodyPr>
          <a:lstStyle>
            <a:lvl1pPr marL="7938" indent="0">
              <a:buNone/>
              <a:defRPr sz="1400" b="0" i="0">
                <a:solidFill>
                  <a:schemeClr val="bg2"/>
                </a:solidFill>
              </a:defRPr>
            </a:lvl1pPr>
          </a:lstStyle>
          <a:p>
            <a:r>
              <a:rPr lang="en-GB"/>
              <a:t>Click icon to add imag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522989" y="-1932"/>
            <a:ext cx="2355835" cy="1683775"/>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577535" y="1015166"/>
            <a:ext cx="5518466" cy="1325563"/>
          </a:xfrm>
          <a:prstGeom prst="rect">
            <a:avLst/>
          </a:prstGeom>
        </p:spPr>
        <p:txBody>
          <a:bodyPr>
            <a:normAutofit/>
          </a:bodyPr>
          <a:lstStyle>
            <a:lvl1pPr>
              <a:defRPr sz="4400" b="1" i="0">
                <a:solidFill>
                  <a:schemeClr val="bg1"/>
                </a:solidFill>
                <a:latin typeface="Tiempos Headline Semibold" panose="02020703060303060403" pitchFamily="18" charset="77"/>
              </a:defRPr>
            </a:lvl1pPr>
          </a:lstStyle>
          <a:p>
            <a:r>
              <a:rPr lang="en-US"/>
              <a:t>Click to add a quote</a:t>
            </a:r>
          </a:p>
        </p:txBody>
      </p:sp>
      <p:pic>
        <p:nvPicPr>
          <p:cNvPr id="8" name="Picture 7">
            <a:extLst>
              <a:ext uri="{FF2B5EF4-FFF2-40B4-BE49-F238E27FC236}">
                <a16:creationId xmlns:a16="http://schemas.microsoft.com/office/drawing/2014/main" id="{5369616A-4F10-7A23-C878-46DEA18BFD2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52715" y="226656"/>
            <a:ext cx="424819" cy="477922"/>
          </a:xfrm>
          <a:prstGeom prst="rect">
            <a:avLst/>
          </a:prstGeom>
        </p:spPr>
      </p:pic>
      <p:pic>
        <p:nvPicPr>
          <p:cNvPr id="13" name="Picture 12">
            <a:extLst>
              <a:ext uri="{FF2B5EF4-FFF2-40B4-BE49-F238E27FC236}">
                <a16:creationId xmlns:a16="http://schemas.microsoft.com/office/drawing/2014/main" id="{D56A8C7C-57D6-A65D-621D-98467B569D7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7"/>
            <a:ext cx="1346510" cy="609369"/>
          </a:xfrm>
          <a:prstGeom prst="rect">
            <a:avLst/>
          </a:prstGeom>
        </p:spPr>
      </p:pic>
      <p:sp>
        <p:nvSpPr>
          <p:cNvPr id="4" name="Subtitle 2">
            <a:extLst>
              <a:ext uri="{FF2B5EF4-FFF2-40B4-BE49-F238E27FC236}">
                <a16:creationId xmlns:a16="http://schemas.microsoft.com/office/drawing/2014/main" id="{DEFA0304-E8A9-9A1F-FE0B-92CB370CB164}"/>
              </a:ext>
            </a:extLst>
          </p:cNvPr>
          <p:cNvSpPr>
            <a:spLocks noGrp="1"/>
          </p:cNvSpPr>
          <p:nvPr>
            <p:ph type="subTitle" idx="1" hasCustomPrompt="1"/>
          </p:nvPr>
        </p:nvSpPr>
        <p:spPr>
          <a:xfrm>
            <a:off x="578169" y="2483984"/>
            <a:ext cx="5517855" cy="945016"/>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attribution</a:t>
            </a:r>
          </a:p>
        </p:txBody>
      </p:sp>
    </p:spTree>
    <p:extLst>
      <p:ext uri="{BB962C8B-B14F-4D97-AF65-F5344CB8AC3E}">
        <p14:creationId xmlns:p14="http://schemas.microsoft.com/office/powerpoint/2010/main" val="25808232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am-Bios">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318631"/>
            <a:ext cx="9127218" cy="601663"/>
          </a:xfrm>
        </p:spPr>
        <p:txBody>
          <a:bodyPr anchor="b">
            <a:normAutofit/>
          </a:bodyPr>
          <a:lstStyle>
            <a:lvl1pPr marL="0" indent="0">
              <a:buNone/>
              <a:defRPr sz="1800" b="0" i="0">
                <a:solidFill>
                  <a:schemeClr val="accent1"/>
                </a:solidFill>
              </a:defRPr>
            </a:lvl1pPr>
          </a:lstStyle>
          <a:p>
            <a:pPr lvl="0"/>
            <a:r>
              <a:rPr lang="en-US"/>
              <a:t>Tagline</a:t>
            </a:r>
          </a:p>
        </p:txBody>
      </p:sp>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1015166"/>
            <a:ext cx="9127218" cy="1325563"/>
          </a:xfrm>
          <a:prstGeom prst="rect">
            <a:avLst/>
          </a:prstGeom>
        </p:spPr>
        <p:txBody>
          <a:bodyPr/>
          <a:lstStyle>
            <a:lvl1pPr>
              <a:defRPr b="1" i="0">
                <a:latin typeface="Tiempos Headline Semibold" panose="02020703060303060403" pitchFamily="18" charset="77"/>
              </a:defRPr>
            </a:lvl1pPr>
          </a:lstStyle>
          <a:p>
            <a:r>
              <a:rPr lang="en-US"/>
              <a:t>Click to add title</a:t>
            </a:r>
          </a:p>
        </p:txBody>
      </p:sp>
      <p:pic>
        <p:nvPicPr>
          <p:cNvPr id="11" name="Picture 10" descr="A green stars on a black background&#10;&#10;Description automatically generated">
            <a:extLst>
              <a:ext uri="{FF2B5EF4-FFF2-40B4-BE49-F238E27FC236}">
                <a16:creationId xmlns:a16="http://schemas.microsoft.com/office/drawing/2014/main" id="{FA4D0CAE-1A9E-91A9-A72A-9B91DBB016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88661" y="619462"/>
            <a:ext cx="629752" cy="916004"/>
          </a:xfrm>
          <a:prstGeom prst="rect">
            <a:avLst/>
          </a:prstGeom>
        </p:spPr>
      </p:pic>
      <p:sp>
        <p:nvSpPr>
          <p:cNvPr id="3" name="Text Placeholder 7">
            <a:extLst>
              <a:ext uri="{FF2B5EF4-FFF2-40B4-BE49-F238E27FC236}">
                <a16:creationId xmlns:a16="http://schemas.microsoft.com/office/drawing/2014/main" id="{DD87AC56-4F62-189B-67C9-BC3E5047DFAD}"/>
              </a:ext>
            </a:extLst>
          </p:cNvPr>
          <p:cNvSpPr>
            <a:spLocks noGrp="1"/>
          </p:cNvSpPr>
          <p:nvPr>
            <p:ph type="body" sz="quarter" idx="20" hasCustomPrompt="1"/>
          </p:nvPr>
        </p:nvSpPr>
        <p:spPr>
          <a:xfrm>
            <a:off x="361461" y="3752979"/>
            <a:ext cx="3288176" cy="395099"/>
          </a:xfrm>
        </p:spPr>
        <p:txBody>
          <a:bodyPr anchor="b">
            <a:normAutofit/>
          </a:bodyPr>
          <a:lstStyle>
            <a:lvl1pPr marL="0" indent="0">
              <a:buNone/>
              <a:defRPr sz="1800" b="1" i="0">
                <a:solidFill>
                  <a:schemeClr val="tx2"/>
                </a:solidFill>
                <a:latin typeface="Tiempos Headline Semibold" panose="02020703060303060403" pitchFamily="18" charset="77"/>
                <a:cs typeface="Times New Roman" panose="02020603050405020304" pitchFamily="18" charset="0"/>
              </a:defRPr>
            </a:lvl1pPr>
          </a:lstStyle>
          <a:p>
            <a:pPr lvl="0"/>
            <a:r>
              <a:rPr lang="en-US"/>
              <a:t>Click to add name</a:t>
            </a:r>
          </a:p>
        </p:txBody>
      </p:sp>
      <p:sp>
        <p:nvSpPr>
          <p:cNvPr id="5" name="Picture Placeholder 17">
            <a:extLst>
              <a:ext uri="{FF2B5EF4-FFF2-40B4-BE49-F238E27FC236}">
                <a16:creationId xmlns:a16="http://schemas.microsoft.com/office/drawing/2014/main" id="{42FE090A-15F0-5A83-B0D0-B9E543D51223}"/>
              </a:ext>
            </a:extLst>
          </p:cNvPr>
          <p:cNvSpPr>
            <a:spLocks noGrp="1" noChangeAspect="1"/>
          </p:cNvSpPr>
          <p:nvPr>
            <p:ph type="pic" sz="quarter" idx="17"/>
          </p:nvPr>
        </p:nvSpPr>
        <p:spPr>
          <a:xfrm>
            <a:off x="361461" y="2629342"/>
            <a:ext cx="1005840" cy="100584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4" name="Text Placeholder 7">
            <a:extLst>
              <a:ext uri="{FF2B5EF4-FFF2-40B4-BE49-F238E27FC236}">
                <a16:creationId xmlns:a16="http://schemas.microsoft.com/office/drawing/2014/main" id="{93808FE3-5458-1E43-B19E-965277E424EB}"/>
              </a:ext>
            </a:extLst>
          </p:cNvPr>
          <p:cNvSpPr>
            <a:spLocks noGrp="1"/>
          </p:cNvSpPr>
          <p:nvPr>
            <p:ph type="body" sz="quarter" idx="35" hasCustomPrompt="1"/>
          </p:nvPr>
        </p:nvSpPr>
        <p:spPr>
          <a:xfrm>
            <a:off x="361461" y="4163879"/>
            <a:ext cx="3288176" cy="395099"/>
          </a:xfrm>
        </p:spPr>
        <p:txBody>
          <a:bodyPr anchor="t">
            <a:normAutofit/>
          </a:bodyPr>
          <a:lstStyle>
            <a:lvl1pPr marL="0" indent="0">
              <a:buNone/>
              <a:defRPr sz="1400" b="0" i="0">
                <a:solidFill>
                  <a:schemeClr val="tx2"/>
                </a:solidFill>
                <a:latin typeface="TT Commons Pro" panose="020B0103030102020204" pitchFamily="34" charset="77"/>
                <a:cs typeface="Arial" panose="020B0604020202020204" pitchFamily="34" charset="0"/>
              </a:defRPr>
            </a:lvl1pPr>
          </a:lstStyle>
          <a:p>
            <a:pPr lvl="0"/>
            <a:r>
              <a:rPr lang="en-US"/>
              <a:t>Click to add job title</a:t>
            </a:r>
          </a:p>
        </p:txBody>
      </p:sp>
      <p:sp>
        <p:nvSpPr>
          <p:cNvPr id="6" name="Text Placeholder 7">
            <a:extLst>
              <a:ext uri="{FF2B5EF4-FFF2-40B4-BE49-F238E27FC236}">
                <a16:creationId xmlns:a16="http://schemas.microsoft.com/office/drawing/2014/main" id="{6C75927A-6938-1F5B-D0C2-69087989F643}"/>
              </a:ext>
            </a:extLst>
          </p:cNvPr>
          <p:cNvSpPr>
            <a:spLocks noGrp="1"/>
          </p:cNvSpPr>
          <p:nvPr>
            <p:ph type="body" sz="quarter" idx="36" hasCustomPrompt="1"/>
          </p:nvPr>
        </p:nvSpPr>
        <p:spPr>
          <a:xfrm>
            <a:off x="361461" y="4626141"/>
            <a:ext cx="3288176" cy="1310640"/>
          </a:xfrm>
        </p:spPr>
        <p:txBody>
          <a:bodyPr anchor="t">
            <a:normAutofit/>
          </a:bodyPr>
          <a:lstStyle>
            <a:lvl1pPr marL="0" indent="0">
              <a:buNone/>
              <a:defRPr sz="1400" b="0" i="0">
                <a:solidFill>
                  <a:schemeClr val="tx2"/>
                </a:solidFill>
                <a:latin typeface="TT Commons Pro" panose="020B0103030102020204" pitchFamily="34" charset="77"/>
                <a:cs typeface="Arial" panose="020B0604020202020204" pitchFamily="34" charset="0"/>
              </a:defRPr>
            </a:lvl1pPr>
          </a:lstStyle>
          <a:p>
            <a:pPr lvl="0"/>
            <a:r>
              <a:rPr lang="en-US"/>
              <a:t>Click to add bio</a:t>
            </a:r>
          </a:p>
        </p:txBody>
      </p:sp>
      <p:sp>
        <p:nvSpPr>
          <p:cNvPr id="8" name="Text Placeholder 7">
            <a:extLst>
              <a:ext uri="{FF2B5EF4-FFF2-40B4-BE49-F238E27FC236}">
                <a16:creationId xmlns:a16="http://schemas.microsoft.com/office/drawing/2014/main" id="{E161A964-95B2-0CD9-8456-6FCE0580B3F3}"/>
              </a:ext>
            </a:extLst>
          </p:cNvPr>
          <p:cNvSpPr>
            <a:spLocks noGrp="1"/>
          </p:cNvSpPr>
          <p:nvPr>
            <p:ph type="body" sz="quarter" idx="37" hasCustomPrompt="1"/>
          </p:nvPr>
        </p:nvSpPr>
        <p:spPr>
          <a:xfrm>
            <a:off x="4445781" y="3752979"/>
            <a:ext cx="3288176" cy="395099"/>
          </a:xfrm>
        </p:spPr>
        <p:txBody>
          <a:bodyPr anchor="b">
            <a:normAutofit/>
          </a:bodyPr>
          <a:lstStyle>
            <a:lvl1pPr marL="0" indent="0">
              <a:buNone/>
              <a:defRPr sz="1800" b="1" i="0">
                <a:solidFill>
                  <a:schemeClr val="tx2"/>
                </a:solidFill>
                <a:latin typeface="Tiempos Headline Semibold" panose="02020703060303060403" pitchFamily="18" charset="77"/>
                <a:cs typeface="Times New Roman" panose="02020603050405020304" pitchFamily="18" charset="0"/>
              </a:defRPr>
            </a:lvl1pPr>
          </a:lstStyle>
          <a:p>
            <a:pPr lvl="0"/>
            <a:r>
              <a:rPr lang="en-US"/>
              <a:t>Click to add name</a:t>
            </a:r>
          </a:p>
        </p:txBody>
      </p:sp>
      <p:sp>
        <p:nvSpPr>
          <p:cNvPr id="10" name="Picture Placeholder 17">
            <a:extLst>
              <a:ext uri="{FF2B5EF4-FFF2-40B4-BE49-F238E27FC236}">
                <a16:creationId xmlns:a16="http://schemas.microsoft.com/office/drawing/2014/main" id="{E270ABE2-4ACE-1403-7483-D42DC1B772D3}"/>
              </a:ext>
            </a:extLst>
          </p:cNvPr>
          <p:cNvSpPr>
            <a:spLocks noGrp="1" noChangeAspect="1"/>
          </p:cNvSpPr>
          <p:nvPr>
            <p:ph type="pic" sz="quarter" idx="38"/>
          </p:nvPr>
        </p:nvSpPr>
        <p:spPr>
          <a:xfrm>
            <a:off x="4445781" y="2629342"/>
            <a:ext cx="1005840" cy="100584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12" name="Text Placeholder 7">
            <a:extLst>
              <a:ext uri="{FF2B5EF4-FFF2-40B4-BE49-F238E27FC236}">
                <a16:creationId xmlns:a16="http://schemas.microsoft.com/office/drawing/2014/main" id="{22B6D471-CEF1-ED55-8283-F25536488BF5}"/>
              </a:ext>
            </a:extLst>
          </p:cNvPr>
          <p:cNvSpPr>
            <a:spLocks noGrp="1"/>
          </p:cNvSpPr>
          <p:nvPr>
            <p:ph type="body" sz="quarter" idx="39" hasCustomPrompt="1"/>
          </p:nvPr>
        </p:nvSpPr>
        <p:spPr>
          <a:xfrm>
            <a:off x="4445781" y="4163879"/>
            <a:ext cx="3288176" cy="395099"/>
          </a:xfrm>
        </p:spPr>
        <p:txBody>
          <a:bodyPr anchor="t">
            <a:normAutofit/>
          </a:bodyPr>
          <a:lstStyle>
            <a:lvl1pPr marL="0" indent="0">
              <a:buNone/>
              <a:defRPr sz="1400" b="0" i="0">
                <a:solidFill>
                  <a:schemeClr val="tx2"/>
                </a:solidFill>
                <a:latin typeface="TT Commons Pro" panose="020B0103030102020204" pitchFamily="34" charset="77"/>
                <a:cs typeface="Arial" panose="020B0604020202020204" pitchFamily="34" charset="0"/>
              </a:defRPr>
            </a:lvl1pPr>
          </a:lstStyle>
          <a:p>
            <a:pPr lvl="0"/>
            <a:r>
              <a:rPr lang="en-US"/>
              <a:t>Click to add job title</a:t>
            </a:r>
          </a:p>
        </p:txBody>
      </p:sp>
      <p:sp>
        <p:nvSpPr>
          <p:cNvPr id="13" name="Text Placeholder 7">
            <a:extLst>
              <a:ext uri="{FF2B5EF4-FFF2-40B4-BE49-F238E27FC236}">
                <a16:creationId xmlns:a16="http://schemas.microsoft.com/office/drawing/2014/main" id="{E9A6037C-0846-35FF-F92C-3632C78D06EC}"/>
              </a:ext>
            </a:extLst>
          </p:cNvPr>
          <p:cNvSpPr>
            <a:spLocks noGrp="1"/>
          </p:cNvSpPr>
          <p:nvPr>
            <p:ph type="body" sz="quarter" idx="40" hasCustomPrompt="1"/>
          </p:nvPr>
        </p:nvSpPr>
        <p:spPr>
          <a:xfrm>
            <a:off x="4445781" y="4626141"/>
            <a:ext cx="3288176" cy="1310640"/>
          </a:xfrm>
        </p:spPr>
        <p:txBody>
          <a:bodyPr anchor="t">
            <a:normAutofit/>
          </a:bodyPr>
          <a:lstStyle>
            <a:lvl1pPr marL="0" indent="0">
              <a:buNone/>
              <a:defRPr sz="1400" b="0" i="0">
                <a:solidFill>
                  <a:schemeClr val="tx2"/>
                </a:solidFill>
                <a:latin typeface="TT Commons Pro" panose="020B0103030102020204" pitchFamily="34" charset="77"/>
                <a:cs typeface="Arial" panose="020B0604020202020204" pitchFamily="34" charset="0"/>
              </a:defRPr>
            </a:lvl1pPr>
          </a:lstStyle>
          <a:p>
            <a:pPr lvl="0"/>
            <a:r>
              <a:rPr lang="en-US"/>
              <a:t>Click to add bio</a:t>
            </a:r>
          </a:p>
        </p:txBody>
      </p:sp>
      <p:sp>
        <p:nvSpPr>
          <p:cNvPr id="14" name="Text Placeholder 7">
            <a:extLst>
              <a:ext uri="{FF2B5EF4-FFF2-40B4-BE49-F238E27FC236}">
                <a16:creationId xmlns:a16="http://schemas.microsoft.com/office/drawing/2014/main" id="{A751BF83-B06E-533A-601C-0FA5D2794E9C}"/>
              </a:ext>
            </a:extLst>
          </p:cNvPr>
          <p:cNvSpPr>
            <a:spLocks noGrp="1"/>
          </p:cNvSpPr>
          <p:nvPr>
            <p:ph type="body" sz="quarter" idx="41" hasCustomPrompt="1"/>
          </p:nvPr>
        </p:nvSpPr>
        <p:spPr>
          <a:xfrm>
            <a:off x="8542365" y="3752979"/>
            <a:ext cx="3288176" cy="395099"/>
          </a:xfrm>
        </p:spPr>
        <p:txBody>
          <a:bodyPr anchor="b">
            <a:normAutofit/>
          </a:bodyPr>
          <a:lstStyle>
            <a:lvl1pPr marL="0" indent="0">
              <a:buNone/>
              <a:defRPr sz="1800" b="1" i="0">
                <a:solidFill>
                  <a:schemeClr val="tx2"/>
                </a:solidFill>
                <a:latin typeface="Tiempos Headline Semibold" panose="02020703060303060403" pitchFamily="18" charset="77"/>
                <a:cs typeface="Times New Roman" panose="02020603050405020304" pitchFamily="18" charset="0"/>
              </a:defRPr>
            </a:lvl1pPr>
          </a:lstStyle>
          <a:p>
            <a:pPr lvl="0"/>
            <a:r>
              <a:rPr lang="en-US"/>
              <a:t>Click to add name</a:t>
            </a:r>
          </a:p>
        </p:txBody>
      </p:sp>
      <p:sp>
        <p:nvSpPr>
          <p:cNvPr id="25" name="Picture Placeholder 17">
            <a:extLst>
              <a:ext uri="{FF2B5EF4-FFF2-40B4-BE49-F238E27FC236}">
                <a16:creationId xmlns:a16="http://schemas.microsoft.com/office/drawing/2014/main" id="{662AB546-10EB-40F8-028E-04C264F2014C}"/>
              </a:ext>
            </a:extLst>
          </p:cNvPr>
          <p:cNvSpPr>
            <a:spLocks noGrp="1" noChangeAspect="1"/>
          </p:cNvSpPr>
          <p:nvPr>
            <p:ph type="pic" sz="quarter" idx="42"/>
          </p:nvPr>
        </p:nvSpPr>
        <p:spPr>
          <a:xfrm>
            <a:off x="8542365" y="2629342"/>
            <a:ext cx="1005840" cy="1005840"/>
          </a:xfrm>
          <a:prstGeom prst="ellipse">
            <a:avLst/>
          </a:prstGeom>
        </p:spPr>
        <p:txBody>
          <a:bodyPr>
            <a:normAutofit/>
          </a:bodyPr>
          <a:lstStyle>
            <a:lvl1pPr marL="7938" indent="0">
              <a:buNone/>
              <a:defRPr sz="800" b="0" i="0"/>
            </a:lvl1pPr>
          </a:lstStyle>
          <a:p>
            <a:r>
              <a:rPr lang="en-US"/>
              <a:t>Click icon to add picture</a:t>
            </a:r>
            <a:endParaRPr lang="en-GB"/>
          </a:p>
        </p:txBody>
      </p:sp>
      <p:sp>
        <p:nvSpPr>
          <p:cNvPr id="28" name="Text Placeholder 7">
            <a:extLst>
              <a:ext uri="{FF2B5EF4-FFF2-40B4-BE49-F238E27FC236}">
                <a16:creationId xmlns:a16="http://schemas.microsoft.com/office/drawing/2014/main" id="{6FAB3EFB-42D2-00DF-CC57-2E9F64D2F8DD}"/>
              </a:ext>
            </a:extLst>
          </p:cNvPr>
          <p:cNvSpPr>
            <a:spLocks noGrp="1"/>
          </p:cNvSpPr>
          <p:nvPr>
            <p:ph type="body" sz="quarter" idx="43" hasCustomPrompt="1"/>
          </p:nvPr>
        </p:nvSpPr>
        <p:spPr>
          <a:xfrm>
            <a:off x="8542365" y="4163879"/>
            <a:ext cx="3288176" cy="395099"/>
          </a:xfrm>
        </p:spPr>
        <p:txBody>
          <a:bodyPr anchor="t">
            <a:normAutofit/>
          </a:bodyPr>
          <a:lstStyle>
            <a:lvl1pPr marL="0" indent="0">
              <a:buNone/>
              <a:defRPr sz="1400" b="0" i="0">
                <a:solidFill>
                  <a:schemeClr val="tx2"/>
                </a:solidFill>
                <a:latin typeface="TT Commons Pro" panose="020B0103030102020204" pitchFamily="34" charset="77"/>
                <a:cs typeface="Arial" panose="020B0604020202020204" pitchFamily="34" charset="0"/>
              </a:defRPr>
            </a:lvl1pPr>
          </a:lstStyle>
          <a:p>
            <a:pPr lvl="0"/>
            <a:r>
              <a:rPr lang="en-US"/>
              <a:t>Click to add job title</a:t>
            </a:r>
          </a:p>
        </p:txBody>
      </p:sp>
      <p:sp>
        <p:nvSpPr>
          <p:cNvPr id="29" name="Text Placeholder 7">
            <a:extLst>
              <a:ext uri="{FF2B5EF4-FFF2-40B4-BE49-F238E27FC236}">
                <a16:creationId xmlns:a16="http://schemas.microsoft.com/office/drawing/2014/main" id="{FB80C1EF-2E2E-9DAB-B821-FE36D4ABA7B4}"/>
              </a:ext>
            </a:extLst>
          </p:cNvPr>
          <p:cNvSpPr>
            <a:spLocks noGrp="1"/>
          </p:cNvSpPr>
          <p:nvPr>
            <p:ph type="body" sz="quarter" idx="44" hasCustomPrompt="1"/>
          </p:nvPr>
        </p:nvSpPr>
        <p:spPr>
          <a:xfrm>
            <a:off x="8542365" y="4626141"/>
            <a:ext cx="3288176" cy="1310640"/>
          </a:xfrm>
        </p:spPr>
        <p:txBody>
          <a:bodyPr anchor="t">
            <a:normAutofit/>
          </a:bodyPr>
          <a:lstStyle>
            <a:lvl1pPr marL="0" indent="0">
              <a:buNone/>
              <a:defRPr sz="1400" b="0" i="0">
                <a:solidFill>
                  <a:schemeClr val="tx2"/>
                </a:solidFill>
                <a:latin typeface="TT Commons Pro" panose="020B0103030102020204" pitchFamily="34" charset="77"/>
                <a:cs typeface="Arial" panose="020B0604020202020204" pitchFamily="34" charset="0"/>
              </a:defRPr>
            </a:lvl1pPr>
          </a:lstStyle>
          <a:p>
            <a:pPr lvl="0"/>
            <a:r>
              <a:rPr lang="en-US"/>
              <a:t>Click to add bio</a:t>
            </a:r>
          </a:p>
        </p:txBody>
      </p:sp>
    </p:spTree>
    <p:extLst>
      <p:ext uri="{BB962C8B-B14F-4D97-AF65-F5344CB8AC3E}">
        <p14:creationId xmlns:p14="http://schemas.microsoft.com/office/powerpoint/2010/main" val="29643619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Blue">
    <p:bg>
      <p:bgPr>
        <a:solidFill>
          <a:schemeClr val="accent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860ECBE-E206-3F84-DCD4-A82C158745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386" y="1600200"/>
            <a:ext cx="3350894" cy="2948787"/>
          </a:xfrm>
          <a:prstGeom prst="rect">
            <a:avLst/>
          </a:prstGeom>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122363"/>
            <a:ext cx="9539478" cy="2387600"/>
          </a:xfrm>
          <a:prstGeom prst="rect">
            <a:avLst/>
          </a:prstGeom>
        </p:spPr>
        <p:txBody>
          <a:bodyPr anchor="b">
            <a:normAutofit/>
          </a:bodyPr>
          <a:lstStyle>
            <a:lvl1pPr algn="l">
              <a:defRPr sz="5200" b="1" i="0">
                <a:solidFill>
                  <a:schemeClr val="bg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602038"/>
            <a:ext cx="9539478" cy="1655762"/>
          </a:xfrm>
          <a:prstGeom prst="rect">
            <a:avLst/>
          </a:prstGeom>
        </p:spPr>
        <p:txBody>
          <a:bodyPr>
            <a:normAutofit/>
          </a:bodyPr>
          <a:lstStyle>
            <a:lvl1pPr marL="0" indent="0" algn="l">
              <a:buNone/>
              <a:defRPr sz="18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68D35621-169F-E7B3-3D5F-AAB64A00545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3" y="6188507"/>
            <a:ext cx="1346508" cy="609369"/>
          </a:xfrm>
          <a:prstGeom prst="rect">
            <a:avLst/>
          </a:prstGeom>
        </p:spPr>
      </p:pic>
    </p:spTree>
    <p:extLst>
      <p:ext uri="{BB962C8B-B14F-4D97-AF65-F5344CB8AC3E}">
        <p14:creationId xmlns:p14="http://schemas.microsoft.com/office/powerpoint/2010/main" val="25104020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3E0CDEB3-604B-CF81-F9BA-C2D5D515EEAD}"/>
              </a:ext>
            </a:extLst>
          </p:cNvPr>
          <p:cNvSpPr>
            <a:spLocks noGrp="1"/>
          </p:cNvSpPr>
          <p:nvPr>
            <p:ph type="body" sz="quarter" idx="18"/>
          </p:nvPr>
        </p:nvSpPr>
        <p:spPr>
          <a:xfrm>
            <a:off x="365125" y="318631"/>
            <a:ext cx="9127218" cy="601663"/>
          </a:xfrm>
        </p:spPr>
        <p:txBody>
          <a:bodyPr/>
          <a:lstStyle>
            <a:lvl1pPr>
              <a:defRPr b="0" i="0"/>
            </a:lvl1pPr>
          </a:lstStyle>
          <a:p>
            <a:pPr lvl="0"/>
            <a:r>
              <a:rPr lang="en-US"/>
              <a:t>Click to edit Master text styles</a:t>
            </a:r>
          </a:p>
        </p:txBody>
      </p:sp>
      <p:sp>
        <p:nvSpPr>
          <p:cNvPr id="4" name="TextBox 3">
            <a:extLst>
              <a:ext uri="{FF2B5EF4-FFF2-40B4-BE49-F238E27FC236}">
                <a16:creationId xmlns:a16="http://schemas.microsoft.com/office/drawing/2014/main" id="{F4EB407A-3E60-3FA9-21B5-0F5196B2EDD7}"/>
              </a:ext>
            </a:extLst>
          </p:cNvPr>
          <p:cNvSpPr txBox="1"/>
          <p:nvPr userDrawn="1"/>
        </p:nvSpPr>
        <p:spPr>
          <a:xfrm>
            <a:off x="365125" y="1215342"/>
            <a:ext cx="4803494" cy="1938992"/>
          </a:xfrm>
          <a:prstGeom prst="rect">
            <a:avLst/>
          </a:prstGeom>
          <a:noFill/>
        </p:spPr>
        <p:txBody>
          <a:bodyPr wrap="square" rtlCol="0">
            <a:spAutoFit/>
          </a:bodyPr>
          <a:lstStyle/>
          <a:p>
            <a:r>
              <a:rPr lang="en-US" sz="6000" b="1" i="0">
                <a:solidFill>
                  <a:schemeClr val="tx2"/>
                </a:solidFill>
                <a:latin typeface="Tiempos Headline Semibold" panose="02020703060303060403" pitchFamily="18" charset="77"/>
                <a:cs typeface="Times New Roman" panose="02020603050405020304" pitchFamily="18" charset="0"/>
              </a:rPr>
              <a:t>Title 1 – 60 pt</a:t>
            </a:r>
          </a:p>
        </p:txBody>
      </p:sp>
      <p:sp>
        <p:nvSpPr>
          <p:cNvPr id="5" name="TextBox 4">
            <a:extLst>
              <a:ext uri="{FF2B5EF4-FFF2-40B4-BE49-F238E27FC236}">
                <a16:creationId xmlns:a16="http://schemas.microsoft.com/office/drawing/2014/main" id="{EC14C7F6-6057-DBFF-663D-A2CCCFDB5100}"/>
              </a:ext>
            </a:extLst>
          </p:cNvPr>
          <p:cNvSpPr txBox="1"/>
          <p:nvPr userDrawn="1"/>
        </p:nvSpPr>
        <p:spPr>
          <a:xfrm>
            <a:off x="365125" y="2476982"/>
            <a:ext cx="4803494" cy="892552"/>
          </a:xfrm>
          <a:prstGeom prst="rect">
            <a:avLst/>
          </a:prstGeom>
          <a:noFill/>
        </p:spPr>
        <p:txBody>
          <a:bodyPr wrap="square" rtlCol="0">
            <a:spAutoFit/>
          </a:bodyPr>
          <a:lstStyle/>
          <a:p>
            <a:r>
              <a:rPr lang="en-US" sz="5200" b="1" i="0">
                <a:solidFill>
                  <a:schemeClr val="tx2"/>
                </a:solidFill>
                <a:latin typeface="Tiempos Headline Semibold" panose="02020703060303060403" pitchFamily="18" charset="77"/>
                <a:cs typeface="Times New Roman" panose="02020603050405020304" pitchFamily="18" charset="0"/>
              </a:rPr>
              <a:t>Title 2 – 52 pt</a:t>
            </a:r>
          </a:p>
        </p:txBody>
      </p:sp>
      <p:sp>
        <p:nvSpPr>
          <p:cNvPr id="6" name="TextBox 5">
            <a:extLst>
              <a:ext uri="{FF2B5EF4-FFF2-40B4-BE49-F238E27FC236}">
                <a16:creationId xmlns:a16="http://schemas.microsoft.com/office/drawing/2014/main" id="{3A8FC690-CFD9-C5CD-BE5E-C205F8778430}"/>
              </a:ext>
            </a:extLst>
          </p:cNvPr>
          <p:cNvSpPr txBox="1"/>
          <p:nvPr userDrawn="1"/>
        </p:nvSpPr>
        <p:spPr>
          <a:xfrm>
            <a:off x="365125" y="3727048"/>
            <a:ext cx="4803494" cy="523220"/>
          </a:xfrm>
          <a:prstGeom prst="rect">
            <a:avLst/>
          </a:prstGeom>
          <a:noFill/>
        </p:spPr>
        <p:txBody>
          <a:bodyPr wrap="square" rtlCol="0">
            <a:spAutoFit/>
          </a:bodyPr>
          <a:lstStyle/>
          <a:p>
            <a:r>
              <a:rPr lang="en-US" sz="2800" b="1" i="0">
                <a:solidFill>
                  <a:schemeClr val="tx2"/>
                </a:solidFill>
                <a:latin typeface="Tiempos Headline Semibold" panose="02020703060303060403" pitchFamily="18" charset="77"/>
                <a:cs typeface="Times New Roman" panose="02020603050405020304" pitchFamily="18" charset="0"/>
              </a:rPr>
              <a:t>Title 3 – 28 pt</a:t>
            </a:r>
          </a:p>
        </p:txBody>
      </p:sp>
      <p:sp>
        <p:nvSpPr>
          <p:cNvPr id="7" name="TextBox 6">
            <a:extLst>
              <a:ext uri="{FF2B5EF4-FFF2-40B4-BE49-F238E27FC236}">
                <a16:creationId xmlns:a16="http://schemas.microsoft.com/office/drawing/2014/main" id="{1D01DEFA-8F22-F211-B83E-580EF3220AE9}"/>
              </a:ext>
            </a:extLst>
          </p:cNvPr>
          <p:cNvSpPr txBox="1"/>
          <p:nvPr userDrawn="1"/>
        </p:nvSpPr>
        <p:spPr>
          <a:xfrm>
            <a:off x="5694744" y="1338452"/>
            <a:ext cx="4803494" cy="769441"/>
          </a:xfrm>
          <a:prstGeom prst="rect">
            <a:avLst/>
          </a:prstGeom>
          <a:noFill/>
        </p:spPr>
        <p:txBody>
          <a:bodyPr wrap="square" rtlCol="0">
            <a:spAutoFit/>
          </a:bodyPr>
          <a:lstStyle/>
          <a:p>
            <a:r>
              <a:rPr lang="en-US" sz="4400" b="1" i="0">
                <a:solidFill>
                  <a:schemeClr val="tx2"/>
                </a:solidFill>
                <a:latin typeface="Tiempos Headline Semibold" panose="02020703060303060403" pitchFamily="18" charset="77"/>
                <a:cs typeface="Times New Roman" panose="02020603050405020304" pitchFamily="18" charset="0"/>
              </a:rPr>
              <a:t>Quote – 44 pt</a:t>
            </a:r>
          </a:p>
        </p:txBody>
      </p:sp>
      <p:sp>
        <p:nvSpPr>
          <p:cNvPr id="8" name="TextBox 7">
            <a:extLst>
              <a:ext uri="{FF2B5EF4-FFF2-40B4-BE49-F238E27FC236}">
                <a16:creationId xmlns:a16="http://schemas.microsoft.com/office/drawing/2014/main" id="{C5E61ED4-DEDC-AD55-7414-08D52679B9EA}"/>
              </a:ext>
            </a:extLst>
          </p:cNvPr>
          <p:cNvSpPr txBox="1"/>
          <p:nvPr userDrawn="1"/>
        </p:nvSpPr>
        <p:spPr>
          <a:xfrm>
            <a:off x="5694744" y="2380171"/>
            <a:ext cx="4803494" cy="369332"/>
          </a:xfrm>
          <a:prstGeom prst="rect">
            <a:avLst/>
          </a:prstGeom>
          <a:noFill/>
        </p:spPr>
        <p:txBody>
          <a:bodyPr wrap="square" rtlCol="0">
            <a:spAutoFit/>
          </a:bodyPr>
          <a:lstStyle/>
          <a:p>
            <a:r>
              <a:rPr lang="en-US" b="0" i="0">
                <a:solidFill>
                  <a:schemeClr val="tx2"/>
                </a:solidFill>
                <a:latin typeface="TT Commons Pro" panose="020B0103030102020204" pitchFamily="34" charset="77"/>
                <a:cs typeface="Arial" panose="020B0604020202020204" pitchFamily="34" charset="0"/>
              </a:rPr>
              <a:t>Body copy medium – 18 pt</a:t>
            </a:r>
          </a:p>
        </p:txBody>
      </p:sp>
      <p:sp>
        <p:nvSpPr>
          <p:cNvPr id="9" name="TextBox 8">
            <a:extLst>
              <a:ext uri="{FF2B5EF4-FFF2-40B4-BE49-F238E27FC236}">
                <a16:creationId xmlns:a16="http://schemas.microsoft.com/office/drawing/2014/main" id="{7AE57064-1B64-5B8E-9326-0ACCB38387FF}"/>
              </a:ext>
            </a:extLst>
          </p:cNvPr>
          <p:cNvSpPr txBox="1"/>
          <p:nvPr userDrawn="1"/>
        </p:nvSpPr>
        <p:spPr>
          <a:xfrm>
            <a:off x="5694744" y="2924181"/>
            <a:ext cx="4803494" cy="307777"/>
          </a:xfrm>
          <a:prstGeom prst="rect">
            <a:avLst/>
          </a:prstGeom>
          <a:noFill/>
        </p:spPr>
        <p:txBody>
          <a:bodyPr wrap="square" rtlCol="0">
            <a:spAutoFit/>
          </a:bodyPr>
          <a:lstStyle/>
          <a:p>
            <a:r>
              <a:rPr lang="en-US" sz="1400" b="0" i="0">
                <a:solidFill>
                  <a:schemeClr val="tx2"/>
                </a:solidFill>
                <a:latin typeface="TT Commons Pro" panose="020B0103030102020204" pitchFamily="34" charset="77"/>
                <a:cs typeface="Arial" panose="020B0604020202020204" pitchFamily="34" charset="0"/>
              </a:rPr>
              <a:t>Body copy small – 14 pt</a:t>
            </a:r>
          </a:p>
        </p:txBody>
      </p:sp>
      <p:sp>
        <p:nvSpPr>
          <p:cNvPr id="10" name="TextBox 9">
            <a:extLst>
              <a:ext uri="{FF2B5EF4-FFF2-40B4-BE49-F238E27FC236}">
                <a16:creationId xmlns:a16="http://schemas.microsoft.com/office/drawing/2014/main" id="{F1F2C4CC-4DD3-8714-4D06-51D07E9E59C4}"/>
              </a:ext>
            </a:extLst>
          </p:cNvPr>
          <p:cNvSpPr txBox="1"/>
          <p:nvPr userDrawn="1"/>
        </p:nvSpPr>
        <p:spPr>
          <a:xfrm>
            <a:off x="5694744" y="3406636"/>
            <a:ext cx="4803494" cy="369332"/>
          </a:xfrm>
          <a:prstGeom prst="rect">
            <a:avLst/>
          </a:prstGeom>
          <a:noFill/>
        </p:spPr>
        <p:txBody>
          <a:bodyPr wrap="square" rtlCol="0">
            <a:spAutoFit/>
          </a:bodyPr>
          <a:lstStyle/>
          <a:p>
            <a:r>
              <a:rPr lang="en-US" b="0" i="0">
                <a:solidFill>
                  <a:schemeClr val="accent1"/>
                </a:solidFill>
                <a:latin typeface="TT Commons Pro" panose="020B0103030102020204" pitchFamily="34" charset="77"/>
                <a:cs typeface="Arial" panose="020B0604020202020204" pitchFamily="34" charset="0"/>
              </a:rPr>
              <a:t>Tagline – 18 pt</a:t>
            </a:r>
          </a:p>
        </p:txBody>
      </p:sp>
      <p:sp>
        <p:nvSpPr>
          <p:cNvPr id="11" name="Rectangle 10">
            <a:extLst>
              <a:ext uri="{FF2B5EF4-FFF2-40B4-BE49-F238E27FC236}">
                <a16:creationId xmlns:a16="http://schemas.microsoft.com/office/drawing/2014/main" id="{96242299-395A-7B6A-54DF-ACB02DBF337A}"/>
              </a:ext>
            </a:extLst>
          </p:cNvPr>
          <p:cNvSpPr/>
          <p:nvPr userDrawn="1"/>
        </p:nvSpPr>
        <p:spPr>
          <a:xfrm>
            <a:off x="5775768" y="4852798"/>
            <a:ext cx="1116059" cy="5550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rgbClr val="A6C044"/>
              </a:solidFill>
              <a:latin typeface="TT Commons Pro" panose="020B0103030102020204" pitchFamily="34" charset="77"/>
            </a:endParaRPr>
          </a:p>
        </p:txBody>
      </p:sp>
      <p:sp>
        <p:nvSpPr>
          <p:cNvPr id="12" name="TextBox 11">
            <a:extLst>
              <a:ext uri="{FF2B5EF4-FFF2-40B4-BE49-F238E27FC236}">
                <a16:creationId xmlns:a16="http://schemas.microsoft.com/office/drawing/2014/main" id="{6C50844E-AC5E-C9A2-1559-15AC67CD6BE3}"/>
              </a:ext>
            </a:extLst>
          </p:cNvPr>
          <p:cNvSpPr txBox="1"/>
          <p:nvPr userDrawn="1"/>
        </p:nvSpPr>
        <p:spPr>
          <a:xfrm>
            <a:off x="7066687" y="4911019"/>
            <a:ext cx="931664" cy="307777"/>
          </a:xfrm>
          <a:prstGeom prst="rect">
            <a:avLst/>
          </a:prstGeom>
          <a:noFill/>
        </p:spPr>
        <p:txBody>
          <a:bodyPr wrap="none" rtlCol="0">
            <a:spAutoFit/>
          </a:bodyPr>
          <a:lstStyle/>
          <a:p>
            <a:r>
              <a:rPr lang="en-GB" sz="1400" b="0" i="0">
                <a:solidFill>
                  <a:schemeClr val="tx2"/>
                </a:solidFill>
                <a:latin typeface="TT Commons Pro" panose="020B0103030102020204" pitchFamily="34" charset="77"/>
                <a:cs typeface="Arial" panose="020B0604020202020204" pitchFamily="34" charset="0"/>
              </a:rPr>
              <a:t>#A6C044</a:t>
            </a:r>
          </a:p>
        </p:txBody>
      </p:sp>
      <p:sp>
        <p:nvSpPr>
          <p:cNvPr id="13" name="Rectangle 12">
            <a:extLst>
              <a:ext uri="{FF2B5EF4-FFF2-40B4-BE49-F238E27FC236}">
                <a16:creationId xmlns:a16="http://schemas.microsoft.com/office/drawing/2014/main" id="{42770E1A-F79D-12A0-4131-C6208037FD42}"/>
              </a:ext>
            </a:extLst>
          </p:cNvPr>
          <p:cNvSpPr/>
          <p:nvPr userDrawn="1"/>
        </p:nvSpPr>
        <p:spPr>
          <a:xfrm>
            <a:off x="5775768" y="4181197"/>
            <a:ext cx="1116059" cy="555035"/>
          </a:xfrm>
          <a:prstGeom prst="rect">
            <a:avLst/>
          </a:prstGeom>
          <a:solidFill>
            <a:srgbClr val="444B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chemeClr val="tx2"/>
              </a:solidFill>
              <a:latin typeface="TT Commons Pro" panose="020B0103030102020204" pitchFamily="34" charset="77"/>
            </a:endParaRPr>
          </a:p>
        </p:txBody>
      </p:sp>
      <p:sp>
        <p:nvSpPr>
          <p:cNvPr id="14" name="TextBox 13">
            <a:extLst>
              <a:ext uri="{FF2B5EF4-FFF2-40B4-BE49-F238E27FC236}">
                <a16:creationId xmlns:a16="http://schemas.microsoft.com/office/drawing/2014/main" id="{82BE8854-8CF4-844C-AB3F-531C7CFCD5CE}"/>
              </a:ext>
            </a:extLst>
          </p:cNvPr>
          <p:cNvSpPr txBox="1"/>
          <p:nvPr userDrawn="1"/>
        </p:nvSpPr>
        <p:spPr>
          <a:xfrm>
            <a:off x="7077492" y="4166921"/>
            <a:ext cx="901209" cy="307777"/>
          </a:xfrm>
          <a:prstGeom prst="rect">
            <a:avLst/>
          </a:prstGeom>
          <a:noFill/>
        </p:spPr>
        <p:txBody>
          <a:bodyPr wrap="none" rtlCol="0">
            <a:spAutoFit/>
          </a:bodyPr>
          <a:lstStyle/>
          <a:p>
            <a:r>
              <a:rPr lang="en-GB" sz="1400" b="0" i="0">
                <a:solidFill>
                  <a:schemeClr val="tx2"/>
                </a:solidFill>
                <a:latin typeface="TT Commons Pro" panose="020B0103030102020204" pitchFamily="34" charset="77"/>
                <a:cs typeface="Arial" panose="020B0604020202020204" pitchFamily="34" charset="0"/>
              </a:rPr>
              <a:t>#444B53</a:t>
            </a:r>
          </a:p>
        </p:txBody>
      </p:sp>
      <p:sp>
        <p:nvSpPr>
          <p:cNvPr id="15" name="TextBox 14">
            <a:extLst>
              <a:ext uri="{FF2B5EF4-FFF2-40B4-BE49-F238E27FC236}">
                <a16:creationId xmlns:a16="http://schemas.microsoft.com/office/drawing/2014/main" id="{86D31CFA-AFAA-7D42-B897-29E4A3157661}"/>
              </a:ext>
            </a:extLst>
          </p:cNvPr>
          <p:cNvSpPr txBox="1"/>
          <p:nvPr userDrawn="1"/>
        </p:nvSpPr>
        <p:spPr>
          <a:xfrm>
            <a:off x="7076805" y="4417577"/>
            <a:ext cx="950260" cy="307777"/>
          </a:xfrm>
          <a:prstGeom prst="rect">
            <a:avLst/>
          </a:prstGeom>
          <a:noFill/>
        </p:spPr>
        <p:txBody>
          <a:bodyPr wrap="none" rtlCol="0">
            <a:spAutoFit/>
          </a:bodyPr>
          <a:lstStyle/>
          <a:p>
            <a:r>
              <a:rPr lang="en-GB" sz="1400" b="0" i="0">
                <a:solidFill>
                  <a:schemeClr val="tx2"/>
                </a:solidFill>
                <a:latin typeface="TT Commons Pro" panose="020B0103030102020204" pitchFamily="34" charset="77"/>
                <a:cs typeface="Arial" panose="020B0604020202020204" pitchFamily="34" charset="0"/>
              </a:rPr>
              <a:t>Text color</a:t>
            </a:r>
          </a:p>
        </p:txBody>
      </p:sp>
      <p:sp>
        <p:nvSpPr>
          <p:cNvPr id="16" name="Rectangle 15">
            <a:extLst>
              <a:ext uri="{FF2B5EF4-FFF2-40B4-BE49-F238E27FC236}">
                <a16:creationId xmlns:a16="http://schemas.microsoft.com/office/drawing/2014/main" id="{C19E61CD-97BA-576F-991E-6A374BD8CAC3}"/>
              </a:ext>
            </a:extLst>
          </p:cNvPr>
          <p:cNvSpPr/>
          <p:nvPr userDrawn="1"/>
        </p:nvSpPr>
        <p:spPr>
          <a:xfrm>
            <a:off x="5775768" y="5507233"/>
            <a:ext cx="1116059" cy="555035"/>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rgbClr val="A6C044"/>
              </a:solidFill>
              <a:latin typeface="TT Commons Pro" panose="020B0103030102020204" pitchFamily="34" charset="77"/>
            </a:endParaRPr>
          </a:p>
        </p:txBody>
      </p:sp>
      <p:sp>
        <p:nvSpPr>
          <p:cNvPr id="17" name="TextBox 16">
            <a:extLst>
              <a:ext uri="{FF2B5EF4-FFF2-40B4-BE49-F238E27FC236}">
                <a16:creationId xmlns:a16="http://schemas.microsoft.com/office/drawing/2014/main" id="{B056FB8C-7AD6-D12E-C94E-F8E312CA78DC}"/>
              </a:ext>
            </a:extLst>
          </p:cNvPr>
          <p:cNvSpPr txBox="1"/>
          <p:nvPr userDrawn="1"/>
        </p:nvSpPr>
        <p:spPr>
          <a:xfrm>
            <a:off x="7066687" y="5566187"/>
            <a:ext cx="901209" cy="307777"/>
          </a:xfrm>
          <a:prstGeom prst="rect">
            <a:avLst/>
          </a:prstGeom>
          <a:noFill/>
        </p:spPr>
        <p:txBody>
          <a:bodyPr wrap="none" rtlCol="0">
            <a:spAutoFit/>
          </a:bodyPr>
          <a:lstStyle/>
          <a:p>
            <a:r>
              <a:rPr lang="en-GB" sz="1400" b="0" i="0">
                <a:solidFill>
                  <a:schemeClr val="tx2"/>
                </a:solidFill>
                <a:latin typeface="TT Commons Pro" panose="020B0103030102020204" pitchFamily="34" charset="77"/>
                <a:cs typeface="Arial" panose="020B0604020202020204" pitchFamily="34" charset="0"/>
              </a:rPr>
              <a:t>#E7E6E6</a:t>
            </a:r>
          </a:p>
        </p:txBody>
      </p:sp>
      <p:sp>
        <p:nvSpPr>
          <p:cNvPr id="18" name="Rectangle 17">
            <a:extLst>
              <a:ext uri="{FF2B5EF4-FFF2-40B4-BE49-F238E27FC236}">
                <a16:creationId xmlns:a16="http://schemas.microsoft.com/office/drawing/2014/main" id="{18948E0C-1CB1-EB7C-4F91-51A238CE7A2D}"/>
              </a:ext>
            </a:extLst>
          </p:cNvPr>
          <p:cNvSpPr/>
          <p:nvPr userDrawn="1"/>
        </p:nvSpPr>
        <p:spPr>
          <a:xfrm>
            <a:off x="8968564" y="4193113"/>
            <a:ext cx="1116059" cy="555035"/>
          </a:xfrm>
          <a:prstGeom prst="rect">
            <a:avLst/>
          </a:prstGeom>
          <a:solidFill>
            <a:srgbClr val="143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chemeClr val="accent2"/>
              </a:solidFill>
              <a:latin typeface="TT Commons Pro" panose="020B0103030102020204" pitchFamily="34" charset="77"/>
            </a:endParaRPr>
          </a:p>
        </p:txBody>
      </p:sp>
      <p:sp>
        <p:nvSpPr>
          <p:cNvPr id="19" name="TextBox 18">
            <a:extLst>
              <a:ext uri="{FF2B5EF4-FFF2-40B4-BE49-F238E27FC236}">
                <a16:creationId xmlns:a16="http://schemas.microsoft.com/office/drawing/2014/main" id="{80FA4399-41DD-12BD-BCB9-EA7E2606F214}"/>
              </a:ext>
            </a:extLst>
          </p:cNvPr>
          <p:cNvSpPr txBox="1"/>
          <p:nvPr userDrawn="1"/>
        </p:nvSpPr>
        <p:spPr>
          <a:xfrm>
            <a:off x="10269601" y="4285826"/>
            <a:ext cx="872355" cy="307777"/>
          </a:xfrm>
          <a:prstGeom prst="rect">
            <a:avLst/>
          </a:prstGeom>
          <a:noFill/>
        </p:spPr>
        <p:txBody>
          <a:bodyPr wrap="none" rtlCol="0">
            <a:spAutoFit/>
          </a:bodyPr>
          <a:lstStyle/>
          <a:p>
            <a:r>
              <a:rPr lang="en-GB" sz="1400" b="0" i="0">
                <a:solidFill>
                  <a:schemeClr val="tx2"/>
                </a:solidFill>
                <a:latin typeface="TT Commons Pro" panose="020B0103030102020204" pitchFamily="34" charset="77"/>
                <a:cs typeface="Arial" panose="020B0604020202020204" pitchFamily="34" charset="0"/>
              </a:rPr>
              <a:t>#143FD8</a:t>
            </a:r>
          </a:p>
        </p:txBody>
      </p:sp>
      <p:sp>
        <p:nvSpPr>
          <p:cNvPr id="20" name="Rectangle 19">
            <a:extLst>
              <a:ext uri="{FF2B5EF4-FFF2-40B4-BE49-F238E27FC236}">
                <a16:creationId xmlns:a16="http://schemas.microsoft.com/office/drawing/2014/main" id="{A2D8AC7D-EB1C-BBC7-668A-5A0847DE7D65}"/>
              </a:ext>
            </a:extLst>
          </p:cNvPr>
          <p:cNvSpPr/>
          <p:nvPr userDrawn="1"/>
        </p:nvSpPr>
        <p:spPr>
          <a:xfrm>
            <a:off x="8968562" y="4874042"/>
            <a:ext cx="1116059" cy="555035"/>
          </a:xfrm>
          <a:prstGeom prst="rect">
            <a:avLst/>
          </a:prstGeom>
          <a:solidFill>
            <a:srgbClr val="C530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chemeClr val="accent2"/>
              </a:solidFill>
              <a:latin typeface="TT Commons Pro" panose="020B0103030102020204" pitchFamily="34" charset="77"/>
            </a:endParaRPr>
          </a:p>
        </p:txBody>
      </p:sp>
      <p:sp>
        <p:nvSpPr>
          <p:cNvPr id="21" name="TextBox 20">
            <a:extLst>
              <a:ext uri="{FF2B5EF4-FFF2-40B4-BE49-F238E27FC236}">
                <a16:creationId xmlns:a16="http://schemas.microsoft.com/office/drawing/2014/main" id="{056AC69E-4C38-E378-B5D3-C7A77ED7F639}"/>
              </a:ext>
            </a:extLst>
          </p:cNvPr>
          <p:cNvSpPr txBox="1"/>
          <p:nvPr userDrawn="1"/>
        </p:nvSpPr>
        <p:spPr>
          <a:xfrm>
            <a:off x="10273392" y="4940994"/>
            <a:ext cx="952505" cy="307777"/>
          </a:xfrm>
          <a:prstGeom prst="rect">
            <a:avLst/>
          </a:prstGeom>
          <a:noFill/>
        </p:spPr>
        <p:txBody>
          <a:bodyPr wrap="none" rtlCol="0">
            <a:spAutoFit/>
          </a:bodyPr>
          <a:lstStyle/>
          <a:p>
            <a:r>
              <a:rPr lang="en-GB" sz="1400" b="0" i="0">
                <a:solidFill>
                  <a:schemeClr val="tx2"/>
                </a:solidFill>
                <a:latin typeface="TT Commons Pro" panose="020B0103030102020204" pitchFamily="34" charset="77"/>
                <a:cs typeface="Arial" panose="020B0604020202020204" pitchFamily="34" charset="0"/>
              </a:rPr>
              <a:t>#</a:t>
            </a:r>
            <a:r>
              <a:rPr lang="en-GB" sz="1400" b="0" i="0">
                <a:solidFill>
                  <a:schemeClr val="tx2"/>
                </a:solidFill>
                <a:effectLst/>
                <a:latin typeface="TT Commons Pro" panose="020B0103030102020204" pitchFamily="34" charset="77"/>
                <a:cs typeface="Arial" panose="020B0604020202020204" pitchFamily="34" charset="0"/>
              </a:rPr>
              <a:t>C530B6</a:t>
            </a:r>
            <a:endParaRPr lang="en-GB" sz="1400" b="0" i="0">
              <a:solidFill>
                <a:schemeClr val="tx2"/>
              </a:solidFill>
              <a:latin typeface="TT Commons Pro" panose="020B0103030102020204" pitchFamily="34" charset="77"/>
              <a:cs typeface="Arial" panose="020B0604020202020204" pitchFamily="34" charset="0"/>
            </a:endParaRPr>
          </a:p>
        </p:txBody>
      </p:sp>
      <p:sp>
        <p:nvSpPr>
          <p:cNvPr id="22" name="Rectangle 21">
            <a:extLst>
              <a:ext uri="{FF2B5EF4-FFF2-40B4-BE49-F238E27FC236}">
                <a16:creationId xmlns:a16="http://schemas.microsoft.com/office/drawing/2014/main" id="{9FEC62F9-2DD0-D3E7-9620-F2D9EFD4920B}"/>
              </a:ext>
            </a:extLst>
          </p:cNvPr>
          <p:cNvSpPr/>
          <p:nvPr userDrawn="1"/>
        </p:nvSpPr>
        <p:spPr>
          <a:xfrm>
            <a:off x="8968562" y="5567973"/>
            <a:ext cx="1116059" cy="55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a:solidFill>
                <a:schemeClr val="accent2"/>
              </a:solidFill>
              <a:latin typeface="TT Commons Pro" panose="020B0103030102020204" pitchFamily="34" charset="77"/>
            </a:endParaRPr>
          </a:p>
        </p:txBody>
      </p:sp>
      <p:sp>
        <p:nvSpPr>
          <p:cNvPr id="23" name="TextBox 22">
            <a:extLst>
              <a:ext uri="{FF2B5EF4-FFF2-40B4-BE49-F238E27FC236}">
                <a16:creationId xmlns:a16="http://schemas.microsoft.com/office/drawing/2014/main" id="{EF43AF8B-2A50-0295-109C-3AA0F339CA90}"/>
              </a:ext>
            </a:extLst>
          </p:cNvPr>
          <p:cNvSpPr txBox="1"/>
          <p:nvPr userDrawn="1"/>
        </p:nvSpPr>
        <p:spPr>
          <a:xfrm>
            <a:off x="10269601" y="5626927"/>
            <a:ext cx="857927" cy="307777"/>
          </a:xfrm>
          <a:prstGeom prst="rect">
            <a:avLst/>
          </a:prstGeom>
          <a:noFill/>
        </p:spPr>
        <p:txBody>
          <a:bodyPr wrap="none" rtlCol="0">
            <a:spAutoFit/>
          </a:bodyPr>
          <a:lstStyle/>
          <a:p>
            <a:r>
              <a:rPr lang="en-GB" sz="1400" b="0" i="0">
                <a:solidFill>
                  <a:schemeClr val="tx2"/>
                </a:solidFill>
                <a:latin typeface="TT Commons Pro" panose="020B0103030102020204" pitchFamily="34" charset="77"/>
                <a:cs typeface="Arial" panose="020B0604020202020204" pitchFamily="34" charset="0"/>
              </a:rPr>
              <a:t>#</a:t>
            </a:r>
            <a:r>
              <a:rPr lang="en-GB" sz="1400" b="0" i="0">
                <a:solidFill>
                  <a:schemeClr val="tx2"/>
                </a:solidFill>
                <a:effectLst/>
                <a:latin typeface="TT Commons Pro" panose="020B0103030102020204" pitchFamily="34" charset="77"/>
                <a:cs typeface="Arial" panose="020B0604020202020204" pitchFamily="34" charset="0"/>
              </a:rPr>
              <a:t>FF7B31</a:t>
            </a:r>
            <a:endParaRPr lang="en-GB" sz="1400" b="0" i="0">
              <a:solidFill>
                <a:schemeClr val="tx2"/>
              </a:solidFill>
              <a:latin typeface="TT Commons Pro" panose="020B0103030102020204" pitchFamily="34" charset="77"/>
              <a:cs typeface="Arial" panose="020B0604020202020204" pitchFamily="34" charset="0"/>
            </a:endParaRPr>
          </a:p>
        </p:txBody>
      </p:sp>
    </p:spTree>
    <p:extLst>
      <p:ext uri="{BB962C8B-B14F-4D97-AF65-F5344CB8AC3E}">
        <p14:creationId xmlns:p14="http://schemas.microsoft.com/office/powerpoint/2010/main" val="11660065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8_Photo + Highlighted Tex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0281E1C-9895-ED40-B508-8EC84A3034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94104" y="0"/>
            <a:ext cx="2397897" cy="6858000"/>
          </a:xfrm>
          <a:prstGeom prst="rect">
            <a:avLst/>
          </a:prstGeom>
        </p:spPr>
      </p:pic>
      <p:sp>
        <p:nvSpPr>
          <p:cNvPr id="15" name="Text Placeholder 14">
            <a:extLst>
              <a:ext uri="{FF2B5EF4-FFF2-40B4-BE49-F238E27FC236}">
                <a16:creationId xmlns:a16="http://schemas.microsoft.com/office/drawing/2014/main" id="{C76D4C37-21B0-2841-A92B-46E982771A4A}"/>
              </a:ext>
            </a:extLst>
          </p:cNvPr>
          <p:cNvSpPr>
            <a:spLocks noGrp="1"/>
          </p:cNvSpPr>
          <p:nvPr>
            <p:ph type="body" sz="quarter" idx="16" hasCustomPrompt="1"/>
          </p:nvPr>
        </p:nvSpPr>
        <p:spPr>
          <a:xfrm>
            <a:off x="383118" y="381001"/>
            <a:ext cx="1351807" cy="338554"/>
          </a:xfrm>
        </p:spPr>
        <p:txBody>
          <a:bodyPr wrap="square" lIns="72000">
            <a:spAutoFit/>
          </a:bodyPr>
          <a:lstStyle>
            <a:lvl1pPr marL="10584" indent="0">
              <a:lnSpc>
                <a:spcPct val="100000"/>
              </a:lnSpc>
              <a:buNone/>
              <a:defRPr sz="1600" b="0" i="0">
                <a:solidFill>
                  <a:schemeClr val="accent1"/>
                </a:solidFill>
              </a:defRPr>
            </a:lvl1pPr>
          </a:lstStyle>
          <a:p>
            <a:pPr lvl="0"/>
            <a:r>
              <a:rPr lang="en-GB"/>
              <a:t>Tagline</a:t>
            </a:r>
          </a:p>
        </p:txBody>
      </p:sp>
      <p:pic>
        <p:nvPicPr>
          <p:cNvPr id="3" name="Graphic 2">
            <a:extLst>
              <a:ext uri="{FF2B5EF4-FFF2-40B4-BE49-F238E27FC236}">
                <a16:creationId xmlns:a16="http://schemas.microsoft.com/office/drawing/2014/main" id="{7B5365F9-2D8F-8C42-8C6F-A89044005BE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059333" y="0"/>
            <a:ext cx="3132667" cy="2895600"/>
          </a:xfrm>
          <a:prstGeom prst="rect">
            <a:avLst/>
          </a:prstGeom>
        </p:spPr>
      </p:pic>
      <p:sp>
        <p:nvSpPr>
          <p:cNvPr id="6" name="Text Placeholder 5">
            <a:extLst>
              <a:ext uri="{FF2B5EF4-FFF2-40B4-BE49-F238E27FC236}">
                <a16:creationId xmlns:a16="http://schemas.microsoft.com/office/drawing/2014/main" id="{4454F11B-FBE4-D74A-BD1F-92BA8865E826}"/>
              </a:ext>
            </a:extLst>
          </p:cNvPr>
          <p:cNvSpPr>
            <a:spLocks noGrp="1"/>
          </p:cNvSpPr>
          <p:nvPr>
            <p:ph type="body" sz="quarter" idx="17"/>
          </p:nvPr>
        </p:nvSpPr>
        <p:spPr>
          <a:xfrm>
            <a:off x="379392" y="1748437"/>
            <a:ext cx="8436637" cy="3842761"/>
          </a:xfrm>
        </p:spPr>
        <p:txBody>
          <a:bodyPr>
            <a:normAutofit/>
          </a:bodyPr>
          <a:lstStyle>
            <a:lvl1pPr>
              <a:lnSpc>
                <a:spcPct val="120000"/>
              </a:lnSpc>
              <a:defRPr sz="1867" b="0" i="0"/>
            </a:lvl1pPr>
            <a:lvl2pPr>
              <a:lnSpc>
                <a:spcPct val="120000"/>
              </a:lnSpc>
              <a:defRPr sz="1867" b="0" i="0"/>
            </a:lvl2pPr>
            <a:lvl3pPr>
              <a:lnSpc>
                <a:spcPct val="120000"/>
              </a:lnSpc>
              <a:defRPr sz="1867" b="0" i="0"/>
            </a:lvl3pPr>
            <a:lvl4pPr>
              <a:lnSpc>
                <a:spcPct val="120000"/>
              </a:lnSpc>
              <a:defRPr sz="1867" b="0" i="0"/>
            </a:lvl4pPr>
            <a:lvl5pPr>
              <a:lnSpc>
                <a:spcPct val="120000"/>
              </a:lnSpc>
              <a:defRPr sz="1867" b="0" i="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Slide Number Placeholder 5">
            <a:extLst>
              <a:ext uri="{FF2B5EF4-FFF2-40B4-BE49-F238E27FC236}">
                <a16:creationId xmlns:a16="http://schemas.microsoft.com/office/drawing/2014/main" id="{A9D3F28F-4662-BF4F-988B-81F01420B487}"/>
              </a:ext>
            </a:extLst>
          </p:cNvPr>
          <p:cNvSpPr>
            <a:spLocks noGrp="1"/>
          </p:cNvSpPr>
          <p:nvPr>
            <p:ph type="sldNum" sz="quarter" idx="4"/>
          </p:nvPr>
        </p:nvSpPr>
        <p:spPr>
          <a:xfrm>
            <a:off x="8991600" y="6293909"/>
            <a:ext cx="2743200" cy="366183"/>
          </a:xfrm>
          <a:prstGeom prst="rect">
            <a:avLst/>
          </a:prstGeom>
        </p:spPr>
        <p:txBody>
          <a:bodyPr vert="horz" lIns="91440" tIns="45720" rIns="91440" bIns="45720" rtlCol="0" anchor="ctr"/>
          <a:lstStyle>
            <a:lvl1pPr algn="r">
              <a:defRPr sz="1333" b="0" i="0">
                <a:solidFill>
                  <a:schemeClr val="tx1">
                    <a:tint val="75000"/>
                  </a:schemeClr>
                </a:solidFill>
                <a:latin typeface="TT Commons Pro" panose="020B0103030102020204" pitchFamily="34" charset="77"/>
              </a:defRPr>
            </a:lvl1pPr>
          </a:lstStyle>
          <a:p>
            <a:fld id="{8F301CD7-22C3-7A42-9674-1AB8A6429604}" type="slidenum">
              <a:rPr lang="en-US" smtClean="0"/>
              <a:pPr/>
              <a:t>‹#›</a:t>
            </a:fld>
            <a:endParaRPr lang="en-US"/>
          </a:p>
        </p:txBody>
      </p:sp>
      <p:sp>
        <p:nvSpPr>
          <p:cNvPr id="10" name="Title 1">
            <a:extLst>
              <a:ext uri="{FF2B5EF4-FFF2-40B4-BE49-F238E27FC236}">
                <a16:creationId xmlns:a16="http://schemas.microsoft.com/office/drawing/2014/main" id="{CB05E9FD-68D1-8F46-822B-7B03FBA524C1}"/>
              </a:ext>
            </a:extLst>
          </p:cNvPr>
          <p:cNvSpPr>
            <a:spLocks noGrp="1"/>
          </p:cNvSpPr>
          <p:nvPr>
            <p:ph type="title"/>
          </p:nvPr>
        </p:nvSpPr>
        <p:spPr>
          <a:xfrm>
            <a:off x="383118" y="836043"/>
            <a:ext cx="8436637" cy="802061"/>
          </a:xfrm>
          <a:noFill/>
        </p:spPr>
        <p:txBody>
          <a:bodyPr wrap="square" lIns="72000" tIns="72000" rIns="288000" bIns="72000" anchor="ctr">
            <a:spAutoFit/>
          </a:bodyPr>
          <a:lstStyle>
            <a:lvl1pPr>
              <a:lnSpc>
                <a:spcPct val="100000"/>
              </a:lnSpc>
              <a:defRPr sz="4267" b="1" i="0" spc="0" baseline="0">
                <a:solidFill>
                  <a:srgbClr val="444B53"/>
                </a:solidFill>
                <a:latin typeface="Tiempos Headline Semibold" panose="02020703060303060403" pitchFamily="18" charset="77"/>
                <a:cs typeface="Times New Roman" panose="02020603050405020304" pitchFamily="18" charset="0"/>
              </a:defRPr>
            </a:lvl1pPr>
          </a:lstStyle>
          <a:p>
            <a:r>
              <a:rPr lang="en-GB"/>
              <a:t>Click to edit Master title style</a:t>
            </a:r>
            <a:endParaRPr lang="en-US"/>
          </a:p>
        </p:txBody>
      </p:sp>
      <p:pic>
        <p:nvPicPr>
          <p:cNvPr id="12" name="Graphic 11">
            <a:extLst>
              <a:ext uri="{FF2B5EF4-FFF2-40B4-BE49-F238E27FC236}">
                <a16:creationId xmlns:a16="http://schemas.microsoft.com/office/drawing/2014/main" id="{0D2F25FC-D04B-AB4D-8AEB-776770300FD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83117" y="6310231"/>
            <a:ext cx="1206624" cy="294952"/>
          </a:xfrm>
          <a:prstGeom prst="rect">
            <a:avLst/>
          </a:prstGeom>
        </p:spPr>
      </p:pic>
    </p:spTree>
    <p:extLst>
      <p:ext uri="{BB962C8B-B14F-4D97-AF65-F5344CB8AC3E}">
        <p14:creationId xmlns:p14="http://schemas.microsoft.com/office/powerpoint/2010/main" val="42211329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Plai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2611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1_Photo + Highlighted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358373E-57C4-6D4F-8683-2CCC90DB4B5A}"/>
              </a:ext>
            </a:extLst>
          </p:cNvPr>
          <p:cNvSpPr>
            <a:spLocks noGrp="1"/>
          </p:cNvSpPr>
          <p:nvPr>
            <p:ph type="pic" sz="quarter" idx="13" hasCustomPrompt="1"/>
          </p:nvPr>
        </p:nvSpPr>
        <p:spPr>
          <a:xfrm>
            <a:off x="0" y="1"/>
            <a:ext cx="12192000" cy="6124575"/>
          </a:xfrm>
          <a:prstGeom prst="rect">
            <a:avLst/>
          </a:prstGeom>
          <a:solidFill>
            <a:schemeClr val="accent6"/>
          </a:solidFill>
          <a:ln>
            <a:noFill/>
          </a:ln>
        </p:spPr>
        <p:txBody>
          <a:bodyPr lIns="90000">
            <a:normAutofit/>
          </a:bodyPr>
          <a:lstStyle>
            <a:lvl1pPr marL="10584" indent="0">
              <a:buNone/>
              <a:defRPr sz="1400" b="0" i="0">
                <a:solidFill>
                  <a:schemeClr val="bg1"/>
                </a:solidFill>
              </a:defRPr>
            </a:lvl1pPr>
          </a:lstStyle>
          <a:p>
            <a:r>
              <a:rPr lang="en-US"/>
              <a:t>Click in the icon to add picture</a:t>
            </a:r>
          </a:p>
        </p:txBody>
      </p:sp>
      <p:sp>
        <p:nvSpPr>
          <p:cNvPr id="2" name="Title 1">
            <a:extLst>
              <a:ext uri="{FF2B5EF4-FFF2-40B4-BE49-F238E27FC236}">
                <a16:creationId xmlns:a16="http://schemas.microsoft.com/office/drawing/2014/main" id="{FF150559-CF33-6740-821B-F70F8315C406}"/>
              </a:ext>
            </a:extLst>
          </p:cNvPr>
          <p:cNvSpPr>
            <a:spLocks noGrp="1"/>
          </p:cNvSpPr>
          <p:nvPr>
            <p:ph type="title"/>
          </p:nvPr>
        </p:nvSpPr>
        <p:spPr>
          <a:xfrm>
            <a:off x="383118" y="1526894"/>
            <a:ext cx="5688895" cy="2825536"/>
          </a:xfrm>
          <a:solidFill>
            <a:srgbClr val="555D66">
              <a:alpha val="90094"/>
            </a:srgbClr>
          </a:solidFill>
        </p:spPr>
        <p:txBody>
          <a:bodyPr wrap="square" lIns="288000" tIns="288000" rIns="288000" bIns="72000" anchor="ctr">
            <a:spAutoFit/>
          </a:bodyPr>
          <a:lstStyle>
            <a:lvl1pPr>
              <a:lnSpc>
                <a:spcPct val="100000"/>
              </a:lnSpc>
              <a:defRPr sz="5333" b="1" i="0" spc="0" baseline="0">
                <a:solidFill>
                  <a:schemeClr val="bg1"/>
                </a:solidFill>
                <a:latin typeface="Tiempos Headline Semibold" panose="02020703060303060403" pitchFamily="18" charset="77"/>
                <a:cs typeface="Times New Roman" panose="02020603050405020304" pitchFamily="18" charset="0"/>
              </a:defRPr>
            </a:lvl1pPr>
          </a:lstStyle>
          <a:p>
            <a:r>
              <a:rPr lang="en-US"/>
              <a:t>Click to edit Master title style</a:t>
            </a:r>
          </a:p>
        </p:txBody>
      </p:sp>
      <p:sp>
        <p:nvSpPr>
          <p:cNvPr id="8" name="Text Placeholder 7">
            <a:extLst>
              <a:ext uri="{FF2B5EF4-FFF2-40B4-BE49-F238E27FC236}">
                <a16:creationId xmlns:a16="http://schemas.microsoft.com/office/drawing/2014/main" id="{C305B573-7AC7-7846-9F77-9C1E46CE9986}"/>
              </a:ext>
            </a:extLst>
          </p:cNvPr>
          <p:cNvSpPr>
            <a:spLocks noGrp="1"/>
          </p:cNvSpPr>
          <p:nvPr>
            <p:ph type="body" sz="quarter" idx="15"/>
          </p:nvPr>
        </p:nvSpPr>
        <p:spPr>
          <a:xfrm>
            <a:off x="383117" y="3592374"/>
            <a:ext cx="5688895" cy="606348"/>
          </a:xfrm>
          <a:solidFill>
            <a:srgbClr val="555D66">
              <a:alpha val="89609"/>
            </a:srgbClr>
          </a:solidFill>
        </p:spPr>
        <p:txBody>
          <a:bodyPr lIns="288000" tIns="46800" rIns="180000" bIns="288000">
            <a:spAutoFit/>
          </a:bodyPr>
          <a:lstStyle>
            <a:lvl1pPr marL="10584" indent="0">
              <a:lnSpc>
                <a:spcPct val="120000"/>
              </a:lnSpc>
              <a:buNone/>
              <a:defRPr sz="1600" b="0" i="0">
                <a:solidFill>
                  <a:schemeClr val="bg1"/>
                </a:solidFill>
                <a:latin typeface="TT Commons Pro" panose="020B0103030102020204" pitchFamily="34" charset="77"/>
              </a:defRPr>
            </a:lvl1pPr>
            <a:lvl2pPr marL="613818" indent="0">
              <a:buNone/>
              <a:defRPr/>
            </a:lvl2pPr>
          </a:lstStyle>
          <a:p>
            <a:pPr lvl="0"/>
            <a:r>
              <a:rPr lang="en-US"/>
              <a:t>Click to edit Master text styles</a:t>
            </a:r>
          </a:p>
        </p:txBody>
      </p:sp>
      <p:sp>
        <p:nvSpPr>
          <p:cNvPr id="23" name="Slide Number Placeholder 5">
            <a:extLst>
              <a:ext uri="{FF2B5EF4-FFF2-40B4-BE49-F238E27FC236}">
                <a16:creationId xmlns:a16="http://schemas.microsoft.com/office/drawing/2014/main" id="{139364E4-5B26-174B-AE3D-04EA51E79BDA}"/>
              </a:ext>
            </a:extLst>
          </p:cNvPr>
          <p:cNvSpPr>
            <a:spLocks noGrp="1"/>
          </p:cNvSpPr>
          <p:nvPr>
            <p:ph type="sldNum" sz="quarter" idx="4"/>
          </p:nvPr>
        </p:nvSpPr>
        <p:spPr>
          <a:xfrm>
            <a:off x="383116" y="6293909"/>
            <a:ext cx="2743200" cy="366183"/>
          </a:xfrm>
          <a:prstGeom prst="rect">
            <a:avLst/>
          </a:prstGeom>
        </p:spPr>
        <p:txBody>
          <a:bodyPr vert="horz" lIns="91440" tIns="45720" rIns="91440" bIns="45720" rtlCol="0" anchor="ctr"/>
          <a:lstStyle>
            <a:lvl1pPr algn="l">
              <a:defRPr sz="1333" b="0" i="0">
                <a:solidFill>
                  <a:schemeClr val="tx1">
                    <a:tint val="75000"/>
                  </a:schemeClr>
                </a:solidFill>
                <a:latin typeface="TT Commons Pro" panose="020B0103030102020204" pitchFamily="34" charset="77"/>
              </a:defRPr>
            </a:lvl1pPr>
          </a:lstStyle>
          <a:p>
            <a:fld id="{8F301CD7-22C3-7A42-9674-1AB8A6429604}" type="slidenum">
              <a:rPr lang="en-US" smtClean="0"/>
              <a:pPr/>
              <a:t>‹#›</a:t>
            </a:fld>
            <a:endParaRPr lang="en-US"/>
          </a:p>
        </p:txBody>
      </p:sp>
      <p:pic>
        <p:nvPicPr>
          <p:cNvPr id="7" name="Graphic 6">
            <a:extLst>
              <a:ext uri="{FF2B5EF4-FFF2-40B4-BE49-F238E27FC236}">
                <a16:creationId xmlns:a16="http://schemas.microsoft.com/office/drawing/2014/main" id="{204A789E-CEDC-EE4D-8588-20F739FD2E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42239" y="6310231"/>
            <a:ext cx="1206624" cy="294952"/>
          </a:xfrm>
          <a:prstGeom prst="rect">
            <a:avLst/>
          </a:prstGeom>
        </p:spPr>
      </p:pic>
    </p:spTree>
    <p:extLst>
      <p:ext uri="{BB962C8B-B14F-4D97-AF65-F5344CB8AC3E}">
        <p14:creationId xmlns:p14="http://schemas.microsoft.com/office/powerpoint/2010/main" val="12778104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tent-All">
    <p:spTree>
      <p:nvGrpSpPr>
        <p:cNvPr id="1" name=""/>
        <p:cNvGrpSpPr/>
        <p:nvPr/>
      </p:nvGrpSpPr>
      <p:grpSpPr>
        <a:xfrm>
          <a:off x="0" y="0"/>
          <a:ext cx="0" cy="0"/>
          <a:chOff x="0" y="0"/>
          <a:chExt cx="0" cy="0"/>
        </a:xfrm>
      </p:grpSpPr>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alphaModFix amt="78000"/>
            <a:extLst>
              <a:ext uri="{28A0092B-C50C-407E-A947-70E740481C1C}">
                <a14:useLocalDpi xmlns:a14="http://schemas.microsoft.com/office/drawing/2010/main"/>
              </a:ext>
            </a:extLst>
          </a:blip>
          <a:srcRect t="46312" r="-493"/>
          <a:stretch>
            <a:fillRect/>
          </a:stretch>
        </p:blipFill>
        <p:spPr>
          <a:xfrm>
            <a:off x="8865675" y="0"/>
            <a:ext cx="3375093" cy="1583144"/>
          </a:xfrm>
          <a:prstGeom prst="rect">
            <a:avLst/>
          </a:prstGeom>
        </p:spPr>
      </p:pic>
      <p:sp>
        <p:nvSpPr>
          <p:cNvPr id="4" name="Rectangle 3">
            <a:extLst>
              <a:ext uri="{FF2B5EF4-FFF2-40B4-BE49-F238E27FC236}">
                <a16:creationId xmlns:a16="http://schemas.microsoft.com/office/drawing/2014/main" id="{26BDAE7A-7F7B-72CE-54FF-2CFE6EFF7EE1}"/>
              </a:ext>
            </a:extLst>
          </p:cNvPr>
          <p:cNvSpPr/>
          <p:nvPr userDrawn="1"/>
        </p:nvSpPr>
        <p:spPr>
          <a:xfrm>
            <a:off x="8766048" y="0"/>
            <a:ext cx="3375093" cy="1583144"/>
          </a:xfrm>
          <a:prstGeom prst="rect">
            <a:avLst/>
          </a:prstGeom>
          <a:gradFill>
            <a:gsLst>
              <a:gs pos="0">
                <a:srgbClr val="444B53"/>
              </a:gs>
              <a:gs pos="100000">
                <a:srgbClr val="444B53">
                  <a:alpha val="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a:latin typeface="TT Commons Pro" panose="020B0103030102020204" pitchFamily="34" charset="77"/>
            </a:endParaRPr>
          </a:p>
        </p:txBody>
      </p:sp>
      <p:sp>
        <p:nvSpPr>
          <p:cNvPr id="7" name="Text Placeholder 14">
            <a:extLst>
              <a:ext uri="{FF2B5EF4-FFF2-40B4-BE49-F238E27FC236}">
                <a16:creationId xmlns:a16="http://schemas.microsoft.com/office/drawing/2014/main" id="{6E3B78DA-8B23-3B52-E7F6-D92C892460B4}"/>
              </a:ext>
            </a:extLst>
          </p:cNvPr>
          <p:cNvSpPr>
            <a:spLocks noGrp="1"/>
          </p:cNvSpPr>
          <p:nvPr>
            <p:ph type="body" sz="quarter" idx="18" hasCustomPrompt="1"/>
          </p:nvPr>
        </p:nvSpPr>
        <p:spPr>
          <a:xfrm>
            <a:off x="365125" y="0"/>
            <a:ext cx="9127219" cy="601663"/>
          </a:xfrm>
        </p:spPr>
        <p:txBody>
          <a:bodyPr anchor="b">
            <a:normAutofit/>
          </a:bodyPr>
          <a:lstStyle>
            <a:lvl1pPr marL="0" indent="0">
              <a:buNone/>
              <a:defRPr sz="1867" b="0" i="0">
                <a:solidFill>
                  <a:srgbClr val="6584F3"/>
                </a:solidFill>
                <a:latin typeface="TT Commons Pro DemiBold" panose="020B0103030102020204" pitchFamily="34" charset="77"/>
              </a:defRPr>
            </a:lvl1pPr>
          </a:lstStyle>
          <a:p>
            <a:pPr lvl="0"/>
            <a:r>
              <a:rPr lang="en-US"/>
              <a:t>Tagline</a:t>
            </a:r>
          </a:p>
        </p:txBody>
      </p:sp>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592061"/>
            <a:ext cx="9127219" cy="845328"/>
          </a:xfrm>
          <a:prstGeom prst="rect">
            <a:avLst/>
          </a:prstGeom>
        </p:spPr>
        <p:txBody>
          <a:bodyPr/>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1583145"/>
            <a:ext cx="11253288" cy="4283169"/>
          </a:xfrm>
          <a:prstGeom prst="rect">
            <a:avLst/>
          </a:prstGeom>
        </p:spPr>
        <p:txBody>
          <a:bodyPr>
            <a:normAutofit/>
          </a:bodyPr>
          <a:lstStyle>
            <a:lvl1pPr marL="228594" indent="-228594">
              <a:buClr>
                <a:srgbClr val="6584F3"/>
              </a:buClr>
              <a:buSzPct val="100000"/>
              <a:buFont typeface="Wingdings" pitchFamily="2" charset="2"/>
              <a:buChar char="§"/>
              <a:defRPr sz="2133" b="0" i="0"/>
            </a:lvl1pPr>
            <a:lvl2pPr marL="685783" indent="-228594">
              <a:buClr>
                <a:srgbClr val="6584F3"/>
              </a:buClr>
              <a:buFont typeface="Wingdings" pitchFamily="2" charset="2"/>
              <a:buChar char="§"/>
              <a:defRPr sz="1867" b="0" i="0"/>
            </a:lvl2pPr>
            <a:lvl3pPr marL="1142971" indent="-228594">
              <a:buClr>
                <a:srgbClr val="6584F3"/>
              </a:buClr>
              <a:buFont typeface="Wingdings" pitchFamily="2" charset="2"/>
              <a:buChar char="§"/>
              <a:defRPr sz="1600" b="0" i="0"/>
            </a:lvl3pPr>
            <a:lvl4pPr marL="1600160" indent="-228594">
              <a:buClr>
                <a:srgbClr val="6584F3"/>
              </a:buClr>
              <a:buFont typeface="Wingdings" pitchFamily="2" charset="2"/>
              <a:buChar char="§"/>
              <a:defRPr sz="1600" b="0" i="0"/>
            </a:lvl4pPr>
            <a:lvl5pPr marL="2057349" indent="-228594">
              <a:buClr>
                <a:srgbClr val="6584F3"/>
              </a:buClr>
              <a:buFont typeface="Wingdings" pitchFamily="2" charset="2"/>
              <a:buChar char="§"/>
              <a:defRPr sz="1467"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28187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15E89-4202-86A4-87B5-DB8C1966AF7D}"/>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7A415E89-4202-86A4-87B5-DB8C1966AF7D}"/>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DC3AA80E-18D5-224D-8282-7980B3EB9C58}"/>
              </a:ext>
            </a:extLst>
          </p:cNvPr>
          <p:cNvSpPr>
            <a:spLocks noGrp="1"/>
          </p:cNvSpPr>
          <p:nvPr>
            <p:ph type="sldNum" sz="quarter" idx="11"/>
          </p:nvPr>
        </p:nvSpPr>
        <p:spPr>
          <a:xfrm>
            <a:off x="406400" y="6293909"/>
            <a:ext cx="2743200" cy="366183"/>
          </a:xfrm>
        </p:spPr>
        <p:txBody>
          <a:bodyPr/>
          <a:lstStyle>
            <a:lvl1pPr>
              <a:defRPr b="0" i="0">
                <a:latin typeface="TT Commons Pro" panose="020B0103030102020204" pitchFamily="34" charset="77"/>
              </a:defRPr>
            </a:lvl1pPr>
          </a:lstStyle>
          <a:p>
            <a:fld id="{8F301CD7-22C3-7A42-9674-1AB8A6429604}" type="slidenum">
              <a:rPr lang="en-US" smtClean="0"/>
              <a:pPr/>
              <a:t>‹#›</a:t>
            </a:fld>
            <a:endParaRPr lang="en-US"/>
          </a:p>
        </p:txBody>
      </p:sp>
    </p:spTree>
    <p:extLst>
      <p:ext uri="{BB962C8B-B14F-4D97-AF65-F5344CB8AC3E}">
        <p14:creationId xmlns:p14="http://schemas.microsoft.com/office/powerpoint/2010/main" val="11276477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3_Photo + Highlighted Tex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38548F-6C20-9D43-B23A-90BE3BA60A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21333" y="0"/>
            <a:ext cx="2370667" cy="6858000"/>
          </a:xfrm>
          <a:prstGeom prst="rect">
            <a:avLst/>
          </a:prstGeom>
        </p:spPr>
      </p:pic>
      <p:pic>
        <p:nvPicPr>
          <p:cNvPr id="13" name="Graphic 12">
            <a:extLst>
              <a:ext uri="{FF2B5EF4-FFF2-40B4-BE49-F238E27FC236}">
                <a16:creationId xmlns:a16="http://schemas.microsoft.com/office/drawing/2014/main" id="{02427959-EB37-2F4E-AD15-C7074B5809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059333" y="0"/>
            <a:ext cx="3132667" cy="2895600"/>
          </a:xfrm>
          <a:prstGeom prst="rect">
            <a:avLst/>
          </a:prstGeom>
        </p:spPr>
      </p:pic>
      <p:sp>
        <p:nvSpPr>
          <p:cNvPr id="10" name="Picture Placeholder 9">
            <a:extLst>
              <a:ext uri="{FF2B5EF4-FFF2-40B4-BE49-F238E27FC236}">
                <a16:creationId xmlns:a16="http://schemas.microsoft.com/office/drawing/2014/main" id="{4358373E-57C4-6D4F-8683-2CCC90DB4B5A}"/>
              </a:ext>
            </a:extLst>
          </p:cNvPr>
          <p:cNvSpPr>
            <a:spLocks noGrp="1"/>
          </p:cNvSpPr>
          <p:nvPr>
            <p:ph type="pic" sz="quarter" idx="13" hasCustomPrompt="1"/>
          </p:nvPr>
        </p:nvSpPr>
        <p:spPr>
          <a:xfrm>
            <a:off x="6326661" y="381000"/>
            <a:ext cx="5408140" cy="5407453"/>
          </a:xfrm>
          <a:prstGeom prst="rect">
            <a:avLst/>
          </a:prstGeom>
          <a:noFill/>
          <a:ln>
            <a:noFill/>
          </a:ln>
        </p:spPr>
        <p:txBody>
          <a:bodyPr lIns="90000">
            <a:normAutofit/>
          </a:bodyPr>
          <a:lstStyle>
            <a:lvl1pPr marL="10584" indent="0">
              <a:buNone/>
              <a:defRPr sz="1600">
                <a:solidFill>
                  <a:schemeClr val="tx1"/>
                </a:solidFill>
              </a:defRPr>
            </a:lvl1pPr>
          </a:lstStyle>
          <a:p>
            <a:r>
              <a:rPr lang="en-US"/>
              <a:t>Click in the icon to add picture</a:t>
            </a:r>
          </a:p>
        </p:txBody>
      </p:sp>
      <p:sp>
        <p:nvSpPr>
          <p:cNvPr id="12" name="Picture Placeholder 17">
            <a:extLst>
              <a:ext uri="{FF2B5EF4-FFF2-40B4-BE49-F238E27FC236}">
                <a16:creationId xmlns:a16="http://schemas.microsoft.com/office/drawing/2014/main" id="{9C869565-27C4-454D-9261-01431B0C0980}"/>
              </a:ext>
            </a:extLst>
          </p:cNvPr>
          <p:cNvSpPr>
            <a:spLocks noGrp="1"/>
          </p:cNvSpPr>
          <p:nvPr>
            <p:ph type="pic" sz="quarter" idx="17"/>
          </p:nvPr>
        </p:nvSpPr>
        <p:spPr>
          <a:xfrm>
            <a:off x="383120" y="401812"/>
            <a:ext cx="944261" cy="944261"/>
          </a:xfrm>
          <a:prstGeom prst="ellipse">
            <a:avLst/>
          </a:prstGeom>
        </p:spPr>
        <p:txBody>
          <a:bodyPr>
            <a:normAutofit/>
          </a:bodyPr>
          <a:lstStyle>
            <a:lvl1pPr marL="10584" indent="0">
              <a:buNone/>
              <a:defRPr sz="1067"/>
            </a:lvl1pPr>
          </a:lstStyle>
          <a:p>
            <a:r>
              <a:rPr lang="en-GB"/>
              <a:t>Click icon to add picture</a:t>
            </a:r>
          </a:p>
        </p:txBody>
      </p:sp>
      <p:sp>
        <p:nvSpPr>
          <p:cNvPr id="16" name="Slide Number Placeholder 5">
            <a:extLst>
              <a:ext uri="{FF2B5EF4-FFF2-40B4-BE49-F238E27FC236}">
                <a16:creationId xmlns:a16="http://schemas.microsoft.com/office/drawing/2014/main" id="{427684A6-D728-CC41-8A99-062F77A34AC0}"/>
              </a:ext>
            </a:extLst>
          </p:cNvPr>
          <p:cNvSpPr>
            <a:spLocks noGrp="1"/>
          </p:cNvSpPr>
          <p:nvPr>
            <p:ph type="sldNum" sz="quarter" idx="4"/>
          </p:nvPr>
        </p:nvSpPr>
        <p:spPr>
          <a:xfrm>
            <a:off x="8991600" y="6293909"/>
            <a:ext cx="2743200" cy="366183"/>
          </a:xfrm>
          <a:prstGeom prst="rect">
            <a:avLst/>
          </a:prstGeom>
        </p:spPr>
        <p:txBody>
          <a:bodyPr vert="horz" lIns="91440" tIns="45720" rIns="91440" bIns="45720" rtlCol="0" anchor="ctr"/>
          <a:lstStyle>
            <a:lvl1pPr algn="r">
              <a:defRPr sz="1333">
                <a:solidFill>
                  <a:schemeClr val="tx1">
                    <a:tint val="75000"/>
                  </a:schemeClr>
                </a:solidFill>
                <a:latin typeface="+mn-lt"/>
              </a:defRPr>
            </a:lvl1pPr>
          </a:lstStyle>
          <a:p>
            <a:fld id="{8F301CD7-22C3-7A42-9674-1AB8A6429604}" type="slidenum">
              <a:rPr lang="en-US" smtClean="0"/>
              <a:pPr/>
              <a:t>‹#›</a:t>
            </a:fld>
            <a:endParaRPr lang="en-US"/>
          </a:p>
        </p:txBody>
      </p:sp>
      <p:sp>
        <p:nvSpPr>
          <p:cNvPr id="17" name="Text Placeholder 14">
            <a:extLst>
              <a:ext uri="{FF2B5EF4-FFF2-40B4-BE49-F238E27FC236}">
                <a16:creationId xmlns:a16="http://schemas.microsoft.com/office/drawing/2014/main" id="{ABE66FF4-732A-9A40-BE7A-AF3C5F958CCF}"/>
              </a:ext>
            </a:extLst>
          </p:cNvPr>
          <p:cNvSpPr>
            <a:spLocks noGrp="1"/>
          </p:cNvSpPr>
          <p:nvPr>
            <p:ph type="body" sz="quarter" idx="16" hasCustomPrompt="1"/>
          </p:nvPr>
        </p:nvSpPr>
        <p:spPr>
          <a:xfrm>
            <a:off x="383121" y="1614158"/>
            <a:ext cx="1351807" cy="338554"/>
          </a:xfrm>
        </p:spPr>
        <p:txBody>
          <a:bodyPr wrap="square" lIns="72000">
            <a:spAutoFit/>
          </a:bodyPr>
          <a:lstStyle>
            <a:lvl1pPr marL="10584" indent="0">
              <a:lnSpc>
                <a:spcPct val="100000"/>
              </a:lnSpc>
              <a:buNone/>
              <a:defRPr sz="1600" b="1">
                <a:solidFill>
                  <a:schemeClr val="accent2"/>
                </a:solidFill>
              </a:defRPr>
            </a:lvl1pPr>
          </a:lstStyle>
          <a:p>
            <a:pPr lvl="0"/>
            <a:r>
              <a:rPr lang="en-GB"/>
              <a:t>Tagline</a:t>
            </a:r>
          </a:p>
        </p:txBody>
      </p:sp>
      <p:sp>
        <p:nvSpPr>
          <p:cNvPr id="18" name="Title 1">
            <a:extLst>
              <a:ext uri="{FF2B5EF4-FFF2-40B4-BE49-F238E27FC236}">
                <a16:creationId xmlns:a16="http://schemas.microsoft.com/office/drawing/2014/main" id="{C33A6D1D-1B4B-664C-9B5E-568C7A656817}"/>
              </a:ext>
            </a:extLst>
          </p:cNvPr>
          <p:cNvSpPr>
            <a:spLocks noGrp="1"/>
          </p:cNvSpPr>
          <p:nvPr>
            <p:ph type="title"/>
          </p:nvPr>
        </p:nvSpPr>
        <p:spPr>
          <a:xfrm>
            <a:off x="383120" y="1750465"/>
            <a:ext cx="5712883" cy="1458714"/>
          </a:xfrm>
          <a:noFill/>
        </p:spPr>
        <p:txBody>
          <a:bodyPr wrap="square" lIns="72000" tIns="72000" rIns="288000" bIns="72000" anchor="ctr">
            <a:spAutoFit/>
          </a:bodyPr>
          <a:lstStyle>
            <a:lvl1pPr>
              <a:lnSpc>
                <a:spcPct val="100000"/>
              </a:lnSpc>
              <a:defRPr sz="4267" b="1" i="0" spc="0" baseline="0">
                <a:solidFill>
                  <a:srgbClr val="444B53"/>
                </a:solidFill>
                <a:latin typeface="Times New Roman" panose="02020603050405020304" pitchFamily="18" charset="0"/>
                <a:cs typeface="Times New Roman" panose="02020603050405020304" pitchFamily="18" charset="0"/>
              </a:defRPr>
            </a:lvl1pPr>
          </a:lstStyle>
          <a:p>
            <a:r>
              <a:rPr lang="en-GB"/>
              <a:t>Click to edit Master title style</a:t>
            </a:r>
            <a:endParaRPr lang="en-US"/>
          </a:p>
        </p:txBody>
      </p:sp>
      <p:sp>
        <p:nvSpPr>
          <p:cNvPr id="20" name="Text Placeholder 7">
            <a:extLst>
              <a:ext uri="{FF2B5EF4-FFF2-40B4-BE49-F238E27FC236}">
                <a16:creationId xmlns:a16="http://schemas.microsoft.com/office/drawing/2014/main" id="{834F5EE6-D8DB-AF4C-81BD-E33C04A65BF4}"/>
              </a:ext>
            </a:extLst>
          </p:cNvPr>
          <p:cNvSpPr>
            <a:spLocks noGrp="1"/>
          </p:cNvSpPr>
          <p:nvPr>
            <p:ph type="body" sz="quarter" idx="15"/>
          </p:nvPr>
        </p:nvSpPr>
        <p:spPr>
          <a:xfrm>
            <a:off x="383117" y="3000776"/>
            <a:ext cx="5712883" cy="398370"/>
          </a:xfrm>
          <a:noFill/>
        </p:spPr>
        <p:txBody>
          <a:bodyPr wrap="square" lIns="72000" tIns="46800" rIns="180000" bIns="72000">
            <a:spAutoFit/>
          </a:bodyPr>
          <a:lstStyle>
            <a:lvl1pPr marL="10584" indent="0">
              <a:lnSpc>
                <a:spcPct val="120000"/>
              </a:lnSpc>
              <a:buNone/>
              <a:defRPr sz="1600">
                <a:solidFill>
                  <a:schemeClr val="tx2"/>
                </a:solidFill>
                <a:latin typeface="+mn-lt"/>
              </a:defRPr>
            </a:lvl1pPr>
            <a:lvl2pPr marL="613818" indent="0">
              <a:buNone/>
              <a:defRPr/>
            </a:lvl2pPr>
          </a:lstStyle>
          <a:p>
            <a:pPr lvl="0"/>
            <a:r>
              <a:rPr lang="en-GB"/>
              <a:t>Click to edit Master text styles</a:t>
            </a:r>
          </a:p>
        </p:txBody>
      </p:sp>
      <p:pic>
        <p:nvPicPr>
          <p:cNvPr id="21" name="Graphic 20">
            <a:extLst>
              <a:ext uri="{FF2B5EF4-FFF2-40B4-BE49-F238E27FC236}">
                <a16:creationId xmlns:a16="http://schemas.microsoft.com/office/drawing/2014/main" id="{35E4AFFD-3CC3-7C46-B530-FFB40322977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83117" y="6310231"/>
            <a:ext cx="1206624" cy="294952"/>
          </a:xfrm>
          <a:prstGeom prst="rect">
            <a:avLst/>
          </a:prstGeom>
        </p:spPr>
      </p:pic>
    </p:spTree>
    <p:extLst>
      <p:ext uri="{BB962C8B-B14F-4D97-AF65-F5344CB8AC3E}">
        <p14:creationId xmlns:p14="http://schemas.microsoft.com/office/powerpoint/2010/main" val="14789973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09FF19C-2BC3-47C7-981F-AC1D313D53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5956" y="1540428"/>
            <a:ext cx="3589867" cy="3149600"/>
          </a:xfrm>
          <a:prstGeom prst="rect">
            <a:avLst/>
          </a:prstGeom>
        </p:spPr>
      </p:pic>
      <p:sp>
        <p:nvSpPr>
          <p:cNvPr id="2" name="Title 1"/>
          <p:cNvSpPr>
            <a:spLocks noGrp="1"/>
          </p:cNvSpPr>
          <p:nvPr>
            <p:ph type="ctrTitle"/>
          </p:nvPr>
        </p:nvSpPr>
        <p:spPr>
          <a:xfrm>
            <a:off x="1524000" y="1122363"/>
            <a:ext cx="9144000" cy="2387600"/>
          </a:xfrm>
          <a:prstGeom prst="rect">
            <a:avLst/>
          </a:prstGeom>
        </p:spPr>
        <p:txBody>
          <a:bodyPr anchor="b"/>
          <a:lstStyle>
            <a:lvl1pPr algn="l">
              <a:defRPr sz="6000" b="1" i="0">
                <a:latin typeface="Tiempos Headline Semibold" panose="02020703060303060403" pitchFamily="18" charset="77"/>
              </a:defRPr>
            </a:lvl1pPr>
          </a:lstStyle>
          <a:p>
            <a:r>
              <a:rPr lang="en-US"/>
              <a:t>Click to edit Master title style</a:t>
            </a:r>
          </a:p>
        </p:txBody>
      </p:sp>
      <p:sp>
        <p:nvSpPr>
          <p:cNvPr id="3" name="Subtitle 2"/>
          <p:cNvSpPr>
            <a:spLocks noGrp="1"/>
          </p:cNvSpPr>
          <p:nvPr>
            <p:ph type="subTitle" idx="1"/>
          </p:nvPr>
        </p:nvSpPr>
        <p:spPr>
          <a:xfrm>
            <a:off x="1524000" y="3602037"/>
            <a:ext cx="9144000" cy="1655763"/>
          </a:xfrm>
          <a:prstGeom prst="rect">
            <a:avLst/>
          </a:prstGeom>
        </p:spPr>
        <p:txBody>
          <a:bodyPr/>
          <a:lstStyle>
            <a:lvl1pPr marL="0" indent="0" algn="l">
              <a:buNone/>
              <a:defRPr sz="24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2449120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ext Only">
    <p:spTree>
      <p:nvGrpSpPr>
        <p:cNvPr id="1" name=""/>
        <p:cNvGrpSpPr/>
        <p:nvPr/>
      </p:nvGrpSpPr>
      <p:grpSpPr>
        <a:xfrm>
          <a:off x="0" y="0"/>
          <a:ext cx="0" cy="0"/>
          <a:chOff x="0" y="0"/>
          <a:chExt cx="0" cy="0"/>
        </a:xfrm>
      </p:grpSpPr>
      <p:sp>
        <p:nvSpPr>
          <p:cNvPr id="2" name="Title 1"/>
          <p:cNvSpPr>
            <a:spLocks noGrp="1"/>
          </p:cNvSpPr>
          <p:nvPr>
            <p:ph type="title"/>
          </p:nvPr>
        </p:nvSpPr>
        <p:spPr>
          <a:xfrm>
            <a:off x="222563" y="208199"/>
            <a:ext cx="11824580" cy="757504"/>
          </a:xfrm>
          <a:prstGeom prst="rect">
            <a:avLst/>
          </a:prstGeom>
        </p:spPr>
        <p:txBody>
          <a:bodyPr/>
          <a:lstStyle>
            <a:lvl1pPr>
              <a:defRPr b="1" i="0">
                <a:latin typeface="Tiempos Headline Semibold" panose="02020703060303060403" pitchFamily="18" charset="77"/>
              </a:defRPr>
            </a:lvl1pPr>
          </a:lstStyle>
          <a:p>
            <a:r>
              <a:rPr lang="en-US"/>
              <a:t>Click to edit Master title style</a:t>
            </a:r>
          </a:p>
        </p:txBody>
      </p:sp>
      <p:sp>
        <p:nvSpPr>
          <p:cNvPr id="3" name="Content Placeholder 2"/>
          <p:cNvSpPr>
            <a:spLocks noGrp="1"/>
          </p:cNvSpPr>
          <p:nvPr>
            <p:ph idx="1"/>
          </p:nvPr>
        </p:nvSpPr>
        <p:spPr>
          <a:xfrm>
            <a:off x="198422" y="1077203"/>
            <a:ext cx="11848721" cy="5103295"/>
          </a:xfrm>
          <a:prstGeom prst="rect">
            <a:avLst/>
          </a:prstGeo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2814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ext and Image">
    <p:spTree>
      <p:nvGrpSpPr>
        <p:cNvPr id="1" name=""/>
        <p:cNvGrpSpPr/>
        <p:nvPr/>
      </p:nvGrpSpPr>
      <p:grpSpPr>
        <a:xfrm>
          <a:off x="0" y="0"/>
          <a:ext cx="0" cy="0"/>
          <a:chOff x="0" y="0"/>
          <a:chExt cx="0" cy="0"/>
        </a:xfrm>
      </p:grpSpPr>
      <p:sp>
        <p:nvSpPr>
          <p:cNvPr id="2" name="Title 1"/>
          <p:cNvSpPr>
            <a:spLocks noGrp="1"/>
          </p:cNvSpPr>
          <p:nvPr>
            <p:ph type="title"/>
          </p:nvPr>
        </p:nvSpPr>
        <p:spPr>
          <a:xfrm>
            <a:off x="222563" y="208199"/>
            <a:ext cx="11824580" cy="757504"/>
          </a:xfrm>
          <a:prstGeom prst="rect">
            <a:avLst/>
          </a:prstGeom>
        </p:spPr>
        <p:txBody>
          <a:bodyPr/>
          <a:lstStyle>
            <a:lvl1pPr>
              <a:defRPr b="1" i="0">
                <a:latin typeface="Tiempos Headline Semibold" panose="02020703060303060403" pitchFamily="18" charset="77"/>
              </a:defRPr>
            </a:lvl1pPr>
          </a:lstStyle>
          <a:p>
            <a:r>
              <a:rPr lang="en-US"/>
              <a:t>Click to edit Master title style</a:t>
            </a:r>
          </a:p>
        </p:txBody>
      </p:sp>
      <p:sp>
        <p:nvSpPr>
          <p:cNvPr id="3" name="Content Placeholder 2"/>
          <p:cNvSpPr>
            <a:spLocks noGrp="1"/>
          </p:cNvSpPr>
          <p:nvPr>
            <p:ph idx="1"/>
          </p:nvPr>
        </p:nvSpPr>
        <p:spPr>
          <a:xfrm>
            <a:off x="198422" y="1077203"/>
            <a:ext cx="5776865" cy="5103295"/>
          </a:xfrm>
          <a:prstGeom prst="rect">
            <a:avLst/>
          </a:prstGeo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18155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Header-Gra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9842573" y="0"/>
            <a:ext cx="2349427" cy="6858000"/>
          </a:xfrm>
          <a:prstGeom prst="rect">
            <a:avLst/>
          </a:prstGeom>
          <a:solidFill>
            <a:srgbClr val="F0F1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1"/>
                </a:solidFill>
              </a:defRPr>
            </a:lvl1pPr>
          </a:lstStyle>
          <a:p>
            <a:pPr lvl="0"/>
            <a:r>
              <a:rPr lang="en-US"/>
              <a:t>Tagline</a:t>
            </a:r>
          </a:p>
        </p:txBody>
      </p:sp>
      <p:sp>
        <p:nvSpPr>
          <p:cNvPr id="4" name="Picture Placeholder 9">
            <a:extLst>
              <a:ext uri="{FF2B5EF4-FFF2-40B4-BE49-F238E27FC236}">
                <a16:creationId xmlns:a16="http://schemas.microsoft.com/office/drawing/2014/main" id="{0F1E3092-CC2A-09B4-51ED-F4E53230A98D}"/>
              </a:ext>
            </a:extLst>
          </p:cNvPr>
          <p:cNvSpPr>
            <a:spLocks noGrp="1"/>
          </p:cNvSpPr>
          <p:nvPr>
            <p:ph type="pic" sz="quarter" idx="13" hasCustomPrompt="1"/>
          </p:nvPr>
        </p:nvSpPr>
        <p:spPr>
          <a:xfrm>
            <a:off x="6409492" y="420393"/>
            <a:ext cx="5356397" cy="5355717"/>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
        <p:nvSpPr>
          <p:cNvPr id="5" name="Picture Placeholder 17">
            <a:extLst>
              <a:ext uri="{FF2B5EF4-FFF2-40B4-BE49-F238E27FC236}">
                <a16:creationId xmlns:a16="http://schemas.microsoft.com/office/drawing/2014/main" id="{FD7F3BBD-7800-2792-5C72-05B50F05BD59}"/>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r>
              <a:rPr lang="en-GB"/>
              <a:t>Click to add picture or icon</a:t>
            </a:r>
          </a:p>
        </p:txBody>
      </p:sp>
    </p:spTree>
    <p:extLst>
      <p:ext uri="{BB962C8B-B14F-4D97-AF65-F5344CB8AC3E}">
        <p14:creationId xmlns:p14="http://schemas.microsoft.com/office/powerpoint/2010/main" val="91072356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2563" y="208199"/>
            <a:ext cx="11824580" cy="757504"/>
          </a:xfrm>
          <a:prstGeom prst="rect">
            <a:avLst/>
          </a:prstGeom>
        </p:spPr>
        <p:txBody>
          <a:bodyPr/>
          <a:lstStyle>
            <a:lvl1pPr>
              <a:defRPr b="1" i="0">
                <a:latin typeface="Tiempos Headline Semibold" panose="02020703060303060403" pitchFamily="18" charset="77"/>
              </a:defRPr>
            </a:lvl1pPr>
          </a:lstStyle>
          <a:p>
            <a:r>
              <a:rPr lang="en-US"/>
              <a:t>Click to edit Master title style</a:t>
            </a:r>
          </a:p>
        </p:txBody>
      </p:sp>
    </p:spTree>
    <p:extLst>
      <p:ext uri="{BB962C8B-B14F-4D97-AF65-F5344CB8AC3E}">
        <p14:creationId xmlns:p14="http://schemas.microsoft.com/office/powerpoint/2010/main" val="28423564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lain">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90470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3_Photo + Highlighted Text">
    <p:bg>
      <p:bgPr>
        <a:solidFill>
          <a:srgbClr val="576575"/>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DE869CE-23BF-9443-9E37-49A88603A6FD}"/>
              </a:ext>
            </a:extLst>
          </p:cNvPr>
          <p:cNvSpPr>
            <a:spLocks noGrp="1"/>
          </p:cNvSpPr>
          <p:nvPr>
            <p:ph type="title" hasCustomPrompt="1"/>
          </p:nvPr>
        </p:nvSpPr>
        <p:spPr>
          <a:xfrm>
            <a:off x="383117" y="1295402"/>
            <a:ext cx="5712883" cy="719859"/>
          </a:xfrm>
          <a:noFill/>
        </p:spPr>
        <p:txBody>
          <a:bodyPr wrap="square" lIns="72000" tIns="72000" rIns="288000" bIns="72000" anchor="t" anchorCtr="0">
            <a:spAutoFit/>
          </a:bodyPr>
          <a:lstStyle>
            <a:lvl1pPr>
              <a:lnSpc>
                <a:spcPct val="100000"/>
              </a:lnSpc>
              <a:defRPr sz="3733" b="1" i="0" spc="0" baseline="0">
                <a:solidFill>
                  <a:schemeClr val="bg1"/>
                </a:solidFill>
                <a:latin typeface="Tiempos Headline Semibold" panose="02020703060303060403" pitchFamily="18" charset="77"/>
                <a:cs typeface="Times New Roman" panose="02020603050405020304" pitchFamily="18" charset="0"/>
              </a:defRPr>
            </a:lvl1pPr>
          </a:lstStyle>
          <a:p>
            <a:r>
              <a:rPr lang="en-US"/>
              <a:t>Click to add a quote, </a:t>
            </a:r>
          </a:p>
        </p:txBody>
      </p:sp>
      <p:sp>
        <p:nvSpPr>
          <p:cNvPr id="24" name="Slide Number Placeholder 5">
            <a:extLst>
              <a:ext uri="{FF2B5EF4-FFF2-40B4-BE49-F238E27FC236}">
                <a16:creationId xmlns:a16="http://schemas.microsoft.com/office/drawing/2014/main" id="{056EAEE1-6FFE-3641-8846-898B735946A0}"/>
              </a:ext>
            </a:extLst>
          </p:cNvPr>
          <p:cNvSpPr>
            <a:spLocks noGrp="1"/>
          </p:cNvSpPr>
          <p:nvPr>
            <p:ph type="sldNum" sz="quarter" idx="4"/>
          </p:nvPr>
        </p:nvSpPr>
        <p:spPr>
          <a:xfrm>
            <a:off x="8991600" y="6293910"/>
            <a:ext cx="2743200" cy="366183"/>
          </a:xfrm>
          <a:prstGeom prst="rect">
            <a:avLst/>
          </a:prstGeom>
        </p:spPr>
        <p:txBody>
          <a:bodyPr vert="horz" lIns="91440" tIns="45720" rIns="91440" bIns="45720" rtlCol="0" anchor="ctr"/>
          <a:lstStyle>
            <a:lvl1pPr algn="r">
              <a:defRPr sz="1333" b="0" i="0">
                <a:solidFill>
                  <a:schemeClr val="bg1"/>
                </a:solidFill>
                <a:latin typeface="TT Commons Pro" panose="020B0103030102020204" pitchFamily="34" charset="77"/>
              </a:defRPr>
            </a:lvl1pPr>
          </a:lstStyle>
          <a:p>
            <a:fld id="{8F301CD7-22C3-7A42-9674-1AB8A6429604}" type="slidenum">
              <a:rPr lang="en-US" smtClean="0"/>
              <a:pPr/>
              <a:t>‹#›</a:t>
            </a:fld>
            <a:endParaRPr lang="en-US"/>
          </a:p>
        </p:txBody>
      </p:sp>
      <p:pic>
        <p:nvPicPr>
          <p:cNvPr id="6" name="Graphic 5">
            <a:extLst>
              <a:ext uri="{FF2B5EF4-FFF2-40B4-BE49-F238E27FC236}">
                <a16:creationId xmlns:a16="http://schemas.microsoft.com/office/drawing/2014/main" id="{C33C8F33-8B5A-164C-B491-8A157D78C2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46147" y="0"/>
            <a:ext cx="3302000" cy="1778000"/>
          </a:xfrm>
          <a:prstGeom prst="rect">
            <a:avLst/>
          </a:prstGeom>
        </p:spPr>
      </p:pic>
      <p:sp>
        <p:nvSpPr>
          <p:cNvPr id="3" name="Picture Placeholder 2">
            <a:extLst>
              <a:ext uri="{FF2B5EF4-FFF2-40B4-BE49-F238E27FC236}">
                <a16:creationId xmlns:a16="http://schemas.microsoft.com/office/drawing/2014/main" id="{5B39F432-DF49-6741-9596-86467BDBB63A}"/>
              </a:ext>
            </a:extLst>
          </p:cNvPr>
          <p:cNvSpPr>
            <a:spLocks noGrp="1"/>
          </p:cNvSpPr>
          <p:nvPr>
            <p:ph type="pic" sz="quarter" idx="17"/>
          </p:nvPr>
        </p:nvSpPr>
        <p:spPr>
          <a:xfrm>
            <a:off x="6880688" y="0"/>
            <a:ext cx="5311312" cy="6858000"/>
          </a:xfrm>
          <a:solidFill>
            <a:srgbClr val="FFFFFF"/>
          </a:solidFill>
        </p:spPr>
        <p:txBody>
          <a:bodyPr/>
          <a:lstStyle>
            <a:lvl1pPr marL="10584" indent="0">
              <a:buNone/>
              <a:defRPr b="0" i="0">
                <a:solidFill>
                  <a:schemeClr val="bg1"/>
                </a:solidFill>
              </a:defRPr>
            </a:lvl1pPr>
          </a:lstStyle>
          <a:p>
            <a:r>
              <a:rPr lang="en-US"/>
              <a:t>Click icon to add picture</a:t>
            </a:r>
            <a:endParaRPr lang="en-GB"/>
          </a:p>
        </p:txBody>
      </p:sp>
      <p:pic>
        <p:nvPicPr>
          <p:cNvPr id="10" name="Graphic 9">
            <a:extLst>
              <a:ext uri="{FF2B5EF4-FFF2-40B4-BE49-F238E27FC236}">
                <a16:creationId xmlns:a16="http://schemas.microsoft.com/office/drawing/2014/main" id="{C80E97B8-2FEE-B148-9725-FDA6B4CDA2D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47651" y="1123735"/>
            <a:ext cx="270933" cy="304800"/>
          </a:xfrm>
          <a:prstGeom prst="rect">
            <a:avLst/>
          </a:prstGeom>
        </p:spPr>
      </p:pic>
      <p:sp>
        <p:nvSpPr>
          <p:cNvPr id="27" name="Text Placeholder 11">
            <a:extLst>
              <a:ext uri="{FF2B5EF4-FFF2-40B4-BE49-F238E27FC236}">
                <a16:creationId xmlns:a16="http://schemas.microsoft.com/office/drawing/2014/main" id="{30570794-2AA4-5B44-9388-DCA287FDCD74}"/>
              </a:ext>
            </a:extLst>
          </p:cNvPr>
          <p:cNvSpPr>
            <a:spLocks noGrp="1"/>
          </p:cNvSpPr>
          <p:nvPr>
            <p:ph type="body" sz="quarter" idx="13" hasCustomPrompt="1"/>
          </p:nvPr>
        </p:nvSpPr>
        <p:spPr>
          <a:xfrm>
            <a:off x="383120" y="2102323"/>
            <a:ext cx="5712881" cy="338554"/>
          </a:xfrm>
        </p:spPr>
        <p:txBody>
          <a:bodyPr wrap="square">
            <a:spAutoFit/>
          </a:bodyPr>
          <a:lstStyle>
            <a:lvl1pPr marL="10584" marR="0" indent="0" algn="l" defTabSz="1219184" rtl="0" eaLnBrk="1" fontAlgn="auto" latinLnBrk="0" hangingPunct="1">
              <a:lnSpc>
                <a:spcPct val="100000"/>
              </a:lnSpc>
              <a:spcBef>
                <a:spcPts val="1333"/>
              </a:spcBef>
              <a:spcAft>
                <a:spcPts val="0"/>
              </a:spcAft>
              <a:buClrTx/>
              <a:buSzTx/>
              <a:buFont typeface="Arial" panose="020B0604020202020204" pitchFamily="34" charset="0"/>
              <a:buNone/>
              <a:tabLst/>
              <a:defRPr sz="1600" b="0" i="0">
                <a:solidFill>
                  <a:schemeClr val="bg1"/>
                </a:solidFill>
                <a:latin typeface="TT Commons Pro" panose="020B0103030102020204" pitchFamily="34" charset="77"/>
                <a:cs typeface="Arial" panose="020B0604020202020204" pitchFamily="34" charset="0"/>
              </a:defRPr>
            </a:lvl1pPr>
            <a:lvl2pPr marL="613826" indent="0">
              <a:buFont typeface="Arial" panose="020B0604020202020204" pitchFamily="34" charset="0"/>
              <a:buNone/>
              <a:defRPr sz="2400">
                <a:solidFill>
                  <a:schemeClr val="bg1"/>
                </a:solidFill>
              </a:defRPr>
            </a:lvl2pPr>
            <a:lvl3pPr marL="1219184" indent="0">
              <a:buNone/>
              <a:defRPr sz="2400">
                <a:solidFill>
                  <a:schemeClr val="bg1"/>
                </a:solidFill>
              </a:defRPr>
            </a:lvl3pPr>
            <a:lvl4pPr marL="1828777" indent="0">
              <a:buNone/>
              <a:defRPr sz="2400">
                <a:solidFill>
                  <a:schemeClr val="bg1"/>
                </a:solidFill>
              </a:defRPr>
            </a:lvl4pPr>
            <a:lvl5pPr marL="2438370" indent="0">
              <a:buNone/>
              <a:defRPr sz="2400">
                <a:solidFill>
                  <a:schemeClr val="bg1"/>
                </a:solidFill>
              </a:defRPr>
            </a:lvl5pPr>
          </a:lstStyle>
          <a:p>
            <a:pPr lvl="0"/>
            <a:r>
              <a:rPr lang="en-US"/>
              <a:t>Click to add name and surname</a:t>
            </a:r>
          </a:p>
        </p:txBody>
      </p:sp>
      <p:pic>
        <p:nvPicPr>
          <p:cNvPr id="11" name="Graphic 10">
            <a:extLst>
              <a:ext uri="{FF2B5EF4-FFF2-40B4-BE49-F238E27FC236}">
                <a16:creationId xmlns:a16="http://schemas.microsoft.com/office/drawing/2014/main" id="{56440C8C-2D41-5943-9DA4-9FAE3AE4ADD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83119" y="6289478"/>
            <a:ext cx="1204679" cy="308173"/>
          </a:xfrm>
          <a:prstGeom prst="rect">
            <a:avLst/>
          </a:prstGeom>
        </p:spPr>
      </p:pic>
    </p:spTree>
    <p:extLst>
      <p:ext uri="{BB962C8B-B14F-4D97-AF65-F5344CB8AC3E}">
        <p14:creationId xmlns:p14="http://schemas.microsoft.com/office/powerpoint/2010/main" val="1321955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4C985E-AECF-4348-9BCD-A7060F1B7ACB}"/>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84C985E-AECF-4348-9BCD-A7060F1B7ACB}"/>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6FBAF813-DA5A-FE55-4C4E-ED905ABD9E38}"/>
              </a:ext>
            </a:extLst>
          </p:cNvPr>
          <p:cNvSpPr/>
          <p:nvPr userDrawn="1"/>
        </p:nvSpPr>
        <p:spPr>
          <a:xfrm>
            <a:off x="-32931" y="1"/>
            <a:ext cx="12224931" cy="6858000"/>
          </a:xfrm>
          <a:custGeom>
            <a:avLst/>
            <a:gdLst>
              <a:gd name="connsiteX0" fmla="*/ 0 w 9144000"/>
              <a:gd name="connsiteY0" fmla="*/ 0 h 5129645"/>
              <a:gd name="connsiteX1" fmla="*/ 299024 w 9144000"/>
              <a:gd name="connsiteY1" fmla="*/ 0 h 5129645"/>
              <a:gd name="connsiteX2" fmla="*/ 1308330 w 9144000"/>
              <a:gd name="connsiteY2" fmla="*/ 3600232 h 5129645"/>
              <a:gd name="connsiteX3" fmla="*/ 2959623 w 9144000"/>
              <a:gd name="connsiteY3" fmla="*/ 4528390 h 5129645"/>
              <a:gd name="connsiteX4" fmla="*/ 8736252 w 9144000"/>
              <a:gd name="connsiteY4" fmla="*/ 2908944 h 5129645"/>
              <a:gd name="connsiteX5" fmla="*/ 9103522 w 9144000"/>
              <a:gd name="connsiteY5" fmla="*/ 2743441 h 5129645"/>
              <a:gd name="connsiteX6" fmla="*/ 9144000 w 9144000"/>
              <a:gd name="connsiteY6" fmla="*/ 2714286 h 5129645"/>
              <a:gd name="connsiteX7" fmla="*/ 9144000 w 9144000"/>
              <a:gd name="connsiteY7" fmla="*/ 5129645 h 5129645"/>
              <a:gd name="connsiteX8" fmla="*/ 0 w 9144000"/>
              <a:gd name="connsiteY8" fmla="*/ 5129645 h 5129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29645">
                <a:moveTo>
                  <a:pt x="0" y="0"/>
                </a:moveTo>
                <a:lnTo>
                  <a:pt x="299024" y="0"/>
                </a:lnTo>
                <a:lnTo>
                  <a:pt x="1308330" y="3600232"/>
                </a:lnTo>
                <a:cubicBezTo>
                  <a:pt x="1508018" y="4312528"/>
                  <a:pt x="2247327" y="4728078"/>
                  <a:pt x="2959623" y="4528390"/>
                </a:cubicBezTo>
                <a:lnTo>
                  <a:pt x="8736252" y="2908944"/>
                </a:lnTo>
                <a:cubicBezTo>
                  <a:pt x="8869808" y="2871502"/>
                  <a:pt x="8992931" y="2815089"/>
                  <a:pt x="9103522" y="2743441"/>
                </a:cubicBezTo>
                <a:lnTo>
                  <a:pt x="9144000" y="2714286"/>
                </a:lnTo>
                <a:lnTo>
                  <a:pt x="9144000" y="5129645"/>
                </a:lnTo>
                <a:lnTo>
                  <a:pt x="0" y="5129645"/>
                </a:lnTo>
                <a:close/>
              </a:path>
            </a:pathLst>
          </a:custGeom>
          <a:solidFill>
            <a:schemeClr val="tx1"/>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b="0" i="0">
              <a:latin typeface="TT Commons Pro" panose="020B0103030102020204" pitchFamily="34" charset="77"/>
            </a:endParaRPr>
          </a:p>
        </p:txBody>
      </p:sp>
      <p:sp>
        <p:nvSpPr>
          <p:cNvPr id="3" name="Subtitle 2">
            <a:extLst>
              <a:ext uri="{FF2B5EF4-FFF2-40B4-BE49-F238E27FC236}">
                <a16:creationId xmlns:a16="http://schemas.microsoft.com/office/drawing/2014/main" id="{0E88E396-5733-9140-879C-C0543A2039EE}"/>
              </a:ext>
            </a:extLst>
          </p:cNvPr>
          <p:cNvSpPr>
            <a:spLocks noGrp="1"/>
          </p:cNvSpPr>
          <p:nvPr>
            <p:ph type="subTitle" idx="1"/>
          </p:nvPr>
        </p:nvSpPr>
        <p:spPr>
          <a:xfrm>
            <a:off x="2396589" y="2964591"/>
            <a:ext cx="7578103" cy="448559"/>
          </a:xfrm>
        </p:spPr>
        <p:txBody>
          <a:bodyPr/>
          <a:lstStyle>
            <a:lvl1pPr marL="0" indent="0" algn="l">
              <a:buNone/>
              <a:defRPr sz="3200" b="0" i="0">
                <a:solidFill>
                  <a:schemeClr val="tx1">
                    <a:lumMod val="95000"/>
                  </a:schemeClr>
                </a:solidFill>
                <a:latin typeface="TT Commons Pro" panose="020B0103030102020204" pitchFamily="34" charset="77"/>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p>
        </p:txBody>
      </p:sp>
      <p:sp>
        <p:nvSpPr>
          <p:cNvPr id="10" name="Rectangle 9">
            <a:extLst>
              <a:ext uri="{FF2B5EF4-FFF2-40B4-BE49-F238E27FC236}">
                <a16:creationId xmlns:a16="http://schemas.microsoft.com/office/drawing/2014/main" id="{0AA39EE3-68E7-5F4E-B600-2E89C95121CE}"/>
              </a:ext>
            </a:extLst>
          </p:cNvPr>
          <p:cNvSpPr/>
          <p:nvPr userDrawn="1"/>
        </p:nvSpPr>
        <p:spPr>
          <a:xfrm>
            <a:off x="2066388" y="2601725"/>
            <a:ext cx="207925" cy="15521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solidFill>
                <a:schemeClr val="accent1"/>
              </a:solidFill>
              <a:latin typeface="TT Commons Pro" panose="020B0103030102020204" pitchFamily="34" charset="77"/>
            </a:endParaRPr>
          </a:p>
        </p:txBody>
      </p:sp>
      <p:sp>
        <p:nvSpPr>
          <p:cNvPr id="12" name="Text Placeholder 11">
            <a:extLst>
              <a:ext uri="{FF2B5EF4-FFF2-40B4-BE49-F238E27FC236}">
                <a16:creationId xmlns:a16="http://schemas.microsoft.com/office/drawing/2014/main" id="{889397A8-AF8F-AA4D-BE99-8DB0CF3B1EBC}"/>
              </a:ext>
            </a:extLst>
          </p:cNvPr>
          <p:cNvSpPr>
            <a:spLocks noGrp="1"/>
          </p:cNvSpPr>
          <p:nvPr>
            <p:ph type="body" sz="quarter" idx="13"/>
          </p:nvPr>
        </p:nvSpPr>
        <p:spPr>
          <a:xfrm>
            <a:off x="2396588" y="3655959"/>
            <a:ext cx="5959621" cy="448559"/>
          </a:xfrm>
        </p:spPr>
        <p:txBody>
          <a:bodyPr>
            <a:noAutofit/>
          </a:bodyPr>
          <a:lstStyle>
            <a:lvl1pPr marL="10584"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sz="2133" b="0" i="0">
                <a:solidFill>
                  <a:schemeClr val="tx1">
                    <a:lumMod val="95000"/>
                  </a:schemeClr>
                </a:solidFill>
                <a:latin typeface="TT Commons Pro" panose="020B0103030102020204" pitchFamily="34" charset="77"/>
              </a:defRPr>
            </a:lvl1pPr>
            <a:lvl2pPr marL="613818" indent="0">
              <a:buFont typeface="Arial" panose="020B0604020202020204" pitchFamily="34" charset="0"/>
              <a:buNone/>
              <a:defRPr sz="2400">
                <a:solidFill>
                  <a:schemeClr val="bg1"/>
                </a:solidFill>
              </a:defRPr>
            </a:lvl2pPr>
            <a:lvl3pPr marL="1219170" indent="0">
              <a:buNone/>
              <a:defRPr sz="2400">
                <a:solidFill>
                  <a:schemeClr val="bg1"/>
                </a:solidFill>
              </a:defRPr>
            </a:lvl3pPr>
            <a:lvl4pPr marL="1828754" indent="0">
              <a:buNone/>
              <a:defRPr sz="2400">
                <a:solidFill>
                  <a:schemeClr val="bg1"/>
                </a:solidFill>
              </a:defRPr>
            </a:lvl4pPr>
            <a:lvl5pPr marL="2438339" indent="0">
              <a:buNone/>
              <a:defRPr sz="2400">
                <a:solidFill>
                  <a:schemeClr val="bg1"/>
                </a:solidFill>
              </a:defRPr>
            </a:lvl5pPr>
          </a:lstStyle>
          <a:p>
            <a:pPr lvl="0"/>
            <a:r>
              <a:rPr lang="en-US"/>
              <a:t>Click to edit Master text styles</a:t>
            </a:r>
          </a:p>
        </p:txBody>
      </p:sp>
      <p:sp>
        <p:nvSpPr>
          <p:cNvPr id="14" name="Text Placeholder 11">
            <a:extLst>
              <a:ext uri="{FF2B5EF4-FFF2-40B4-BE49-F238E27FC236}">
                <a16:creationId xmlns:a16="http://schemas.microsoft.com/office/drawing/2014/main" id="{C08B823A-FFB0-1D48-9D9E-B4CC4F6E3C3D}"/>
              </a:ext>
            </a:extLst>
          </p:cNvPr>
          <p:cNvSpPr>
            <a:spLocks noGrp="1"/>
          </p:cNvSpPr>
          <p:nvPr>
            <p:ph type="body" sz="quarter" idx="14"/>
          </p:nvPr>
        </p:nvSpPr>
        <p:spPr>
          <a:xfrm>
            <a:off x="2396588" y="4053350"/>
            <a:ext cx="5959621" cy="448559"/>
          </a:xfrm>
        </p:spPr>
        <p:txBody>
          <a:bodyPr>
            <a:noAutofit/>
          </a:bodyPr>
          <a:lstStyle>
            <a:lvl1pPr marL="10584"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sz="2133" b="0" i="0">
                <a:solidFill>
                  <a:schemeClr val="tx1">
                    <a:lumMod val="95000"/>
                  </a:schemeClr>
                </a:solidFill>
                <a:latin typeface="TT Commons Pro" panose="020B0103030102020204" pitchFamily="34" charset="77"/>
              </a:defRPr>
            </a:lvl1pPr>
            <a:lvl2pPr marL="613818" indent="0">
              <a:buFont typeface="Arial" panose="020B0604020202020204" pitchFamily="34" charset="0"/>
              <a:buNone/>
              <a:defRPr sz="2400">
                <a:solidFill>
                  <a:schemeClr val="bg1"/>
                </a:solidFill>
              </a:defRPr>
            </a:lvl2pPr>
            <a:lvl3pPr marL="1219170" indent="0">
              <a:buNone/>
              <a:defRPr sz="2400">
                <a:solidFill>
                  <a:schemeClr val="bg1"/>
                </a:solidFill>
              </a:defRPr>
            </a:lvl3pPr>
            <a:lvl4pPr marL="1828754" indent="0">
              <a:buNone/>
              <a:defRPr sz="2400">
                <a:solidFill>
                  <a:schemeClr val="bg1"/>
                </a:solidFill>
              </a:defRPr>
            </a:lvl4pPr>
            <a:lvl5pPr marL="2438339" indent="0">
              <a:buNone/>
              <a:defRPr sz="2400">
                <a:solidFill>
                  <a:schemeClr val="bg1"/>
                </a:solidFill>
              </a:defRPr>
            </a:lvl5pPr>
          </a:lstStyle>
          <a:p>
            <a:pPr lvl="0"/>
            <a:r>
              <a:rPr lang="en-US"/>
              <a:t>Click to edit Master text styles</a:t>
            </a:r>
          </a:p>
        </p:txBody>
      </p:sp>
      <p:sp>
        <p:nvSpPr>
          <p:cNvPr id="8" name="Title 1">
            <a:extLst>
              <a:ext uri="{FF2B5EF4-FFF2-40B4-BE49-F238E27FC236}">
                <a16:creationId xmlns:a16="http://schemas.microsoft.com/office/drawing/2014/main" id="{7C90ECE9-DF03-CA40-9C15-B895943AB15D}"/>
              </a:ext>
            </a:extLst>
          </p:cNvPr>
          <p:cNvSpPr>
            <a:spLocks noGrp="1"/>
          </p:cNvSpPr>
          <p:nvPr>
            <p:ph type="title"/>
          </p:nvPr>
        </p:nvSpPr>
        <p:spPr>
          <a:xfrm>
            <a:off x="2066388" y="414476"/>
            <a:ext cx="8331200" cy="2385483"/>
          </a:xfrm>
        </p:spPr>
        <p:txBody>
          <a:bodyPr vert="horz" anchor="b">
            <a:normAutofit/>
          </a:bodyPr>
          <a:lstStyle>
            <a:lvl1pPr>
              <a:defRPr sz="7066" b="0" i="0">
                <a:solidFill>
                  <a:schemeClr val="tx1">
                    <a:lumMod val="95000"/>
                  </a:schemeClr>
                </a:solidFill>
                <a:latin typeface="TT Commons Pro" panose="020B0103030102020204" pitchFamily="34" charset="77"/>
              </a:defRPr>
            </a:lvl1pPr>
          </a:lstStyle>
          <a:p>
            <a:r>
              <a:rPr lang="en-US"/>
              <a:t>Click to edit Master title style</a:t>
            </a:r>
          </a:p>
        </p:txBody>
      </p:sp>
      <p:pic>
        <p:nvPicPr>
          <p:cNvPr id="13" name="Picture 12">
            <a:extLst>
              <a:ext uri="{FF2B5EF4-FFF2-40B4-BE49-F238E27FC236}">
                <a16:creationId xmlns:a16="http://schemas.microsoft.com/office/drawing/2014/main" id="{F71125DD-4D25-06DE-CCA3-2B7FFCC9C833}"/>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0477344" y="6364646"/>
            <a:ext cx="1257457" cy="249708"/>
          </a:xfrm>
          <a:prstGeom prst="rect">
            <a:avLst/>
          </a:prstGeom>
        </p:spPr>
      </p:pic>
    </p:spTree>
    <p:extLst>
      <p:ext uri="{BB962C8B-B14F-4D97-AF65-F5344CB8AC3E}">
        <p14:creationId xmlns:p14="http://schemas.microsoft.com/office/powerpoint/2010/main" val="16938320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4C985E-AECF-4348-9BCD-A7060F1B7ACB}"/>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84C985E-AECF-4348-9BCD-A7060F1B7ACB}"/>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6FBAF813-DA5A-FE55-4C4E-ED905ABD9E38}"/>
              </a:ext>
            </a:extLst>
          </p:cNvPr>
          <p:cNvSpPr/>
          <p:nvPr userDrawn="1"/>
        </p:nvSpPr>
        <p:spPr>
          <a:xfrm>
            <a:off x="-32931" y="1"/>
            <a:ext cx="12224931" cy="6858000"/>
          </a:xfrm>
          <a:custGeom>
            <a:avLst/>
            <a:gdLst>
              <a:gd name="connsiteX0" fmla="*/ 0 w 9144000"/>
              <a:gd name="connsiteY0" fmla="*/ 0 h 5129645"/>
              <a:gd name="connsiteX1" fmla="*/ 299024 w 9144000"/>
              <a:gd name="connsiteY1" fmla="*/ 0 h 5129645"/>
              <a:gd name="connsiteX2" fmla="*/ 1308330 w 9144000"/>
              <a:gd name="connsiteY2" fmla="*/ 3600232 h 5129645"/>
              <a:gd name="connsiteX3" fmla="*/ 2959623 w 9144000"/>
              <a:gd name="connsiteY3" fmla="*/ 4528390 h 5129645"/>
              <a:gd name="connsiteX4" fmla="*/ 8736252 w 9144000"/>
              <a:gd name="connsiteY4" fmla="*/ 2908944 h 5129645"/>
              <a:gd name="connsiteX5" fmla="*/ 9103522 w 9144000"/>
              <a:gd name="connsiteY5" fmla="*/ 2743441 h 5129645"/>
              <a:gd name="connsiteX6" fmla="*/ 9144000 w 9144000"/>
              <a:gd name="connsiteY6" fmla="*/ 2714286 h 5129645"/>
              <a:gd name="connsiteX7" fmla="*/ 9144000 w 9144000"/>
              <a:gd name="connsiteY7" fmla="*/ 5129645 h 5129645"/>
              <a:gd name="connsiteX8" fmla="*/ 0 w 9144000"/>
              <a:gd name="connsiteY8" fmla="*/ 5129645 h 5129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29645">
                <a:moveTo>
                  <a:pt x="0" y="0"/>
                </a:moveTo>
                <a:lnTo>
                  <a:pt x="299024" y="0"/>
                </a:lnTo>
                <a:lnTo>
                  <a:pt x="1308330" y="3600232"/>
                </a:lnTo>
                <a:cubicBezTo>
                  <a:pt x="1508018" y="4312528"/>
                  <a:pt x="2247327" y="4728078"/>
                  <a:pt x="2959623" y="4528390"/>
                </a:cubicBezTo>
                <a:lnTo>
                  <a:pt x="8736252" y="2908944"/>
                </a:lnTo>
                <a:cubicBezTo>
                  <a:pt x="8869808" y="2871502"/>
                  <a:pt x="8992931" y="2815089"/>
                  <a:pt x="9103522" y="2743441"/>
                </a:cubicBezTo>
                <a:lnTo>
                  <a:pt x="9144000" y="2714286"/>
                </a:lnTo>
                <a:lnTo>
                  <a:pt x="9144000" y="5129645"/>
                </a:lnTo>
                <a:lnTo>
                  <a:pt x="0" y="5129645"/>
                </a:lnTo>
                <a:close/>
              </a:path>
            </a:pathLst>
          </a:custGeom>
          <a:solidFill>
            <a:schemeClr val="tx1"/>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b="0" i="0">
              <a:latin typeface="TT Commons Pro" panose="020B0103030102020204" pitchFamily="34" charset="77"/>
            </a:endParaRPr>
          </a:p>
        </p:txBody>
      </p:sp>
      <p:sp>
        <p:nvSpPr>
          <p:cNvPr id="8" name="Title 1">
            <a:extLst>
              <a:ext uri="{FF2B5EF4-FFF2-40B4-BE49-F238E27FC236}">
                <a16:creationId xmlns:a16="http://schemas.microsoft.com/office/drawing/2014/main" id="{7C90ECE9-DF03-CA40-9C15-B895943AB15D}"/>
              </a:ext>
            </a:extLst>
          </p:cNvPr>
          <p:cNvSpPr>
            <a:spLocks noGrp="1"/>
          </p:cNvSpPr>
          <p:nvPr>
            <p:ph type="title"/>
          </p:nvPr>
        </p:nvSpPr>
        <p:spPr>
          <a:xfrm>
            <a:off x="2066388" y="414476"/>
            <a:ext cx="8331200" cy="2385483"/>
          </a:xfrm>
        </p:spPr>
        <p:txBody>
          <a:bodyPr vert="horz" anchor="b">
            <a:normAutofit/>
          </a:bodyPr>
          <a:lstStyle>
            <a:lvl1pPr>
              <a:defRPr sz="7066" b="0" i="0">
                <a:solidFill>
                  <a:schemeClr val="tx1">
                    <a:lumMod val="95000"/>
                  </a:schemeClr>
                </a:solidFill>
                <a:latin typeface="TT Commons Pro" panose="020B0103030102020204" pitchFamily="34" charset="77"/>
              </a:defRPr>
            </a:lvl1pPr>
          </a:lstStyle>
          <a:p>
            <a:r>
              <a:rPr lang="en-US"/>
              <a:t>Click to edit Master title style</a:t>
            </a:r>
          </a:p>
        </p:txBody>
      </p:sp>
      <p:pic>
        <p:nvPicPr>
          <p:cNvPr id="13" name="Picture 12">
            <a:extLst>
              <a:ext uri="{FF2B5EF4-FFF2-40B4-BE49-F238E27FC236}">
                <a16:creationId xmlns:a16="http://schemas.microsoft.com/office/drawing/2014/main" id="{F71125DD-4D25-06DE-CCA3-2B7FFCC9C833}"/>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0477344" y="6364646"/>
            <a:ext cx="1257457" cy="249708"/>
          </a:xfrm>
          <a:prstGeom prst="rect">
            <a:avLst/>
          </a:prstGeom>
        </p:spPr>
      </p:pic>
    </p:spTree>
    <p:extLst>
      <p:ext uri="{BB962C8B-B14F-4D97-AF65-F5344CB8AC3E}">
        <p14:creationId xmlns:p14="http://schemas.microsoft.com/office/powerpoint/2010/main" val="18809507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4C985E-AECF-4348-9BCD-A7060F1B7ACB}"/>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84C985E-AECF-4348-9BCD-A7060F1B7ACB}"/>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6FBAF813-DA5A-FE55-4C4E-ED905ABD9E38}"/>
              </a:ext>
            </a:extLst>
          </p:cNvPr>
          <p:cNvSpPr/>
          <p:nvPr userDrawn="1"/>
        </p:nvSpPr>
        <p:spPr>
          <a:xfrm>
            <a:off x="-32931" y="0"/>
            <a:ext cx="12224931" cy="6858000"/>
          </a:xfrm>
          <a:custGeom>
            <a:avLst/>
            <a:gdLst>
              <a:gd name="connsiteX0" fmla="*/ 0 w 9144000"/>
              <a:gd name="connsiteY0" fmla="*/ 0 h 5129645"/>
              <a:gd name="connsiteX1" fmla="*/ 299024 w 9144000"/>
              <a:gd name="connsiteY1" fmla="*/ 0 h 5129645"/>
              <a:gd name="connsiteX2" fmla="*/ 1308330 w 9144000"/>
              <a:gd name="connsiteY2" fmla="*/ 3600232 h 5129645"/>
              <a:gd name="connsiteX3" fmla="*/ 2959623 w 9144000"/>
              <a:gd name="connsiteY3" fmla="*/ 4528390 h 5129645"/>
              <a:gd name="connsiteX4" fmla="*/ 8736252 w 9144000"/>
              <a:gd name="connsiteY4" fmla="*/ 2908944 h 5129645"/>
              <a:gd name="connsiteX5" fmla="*/ 9103522 w 9144000"/>
              <a:gd name="connsiteY5" fmla="*/ 2743441 h 5129645"/>
              <a:gd name="connsiteX6" fmla="*/ 9144000 w 9144000"/>
              <a:gd name="connsiteY6" fmla="*/ 2714286 h 5129645"/>
              <a:gd name="connsiteX7" fmla="*/ 9144000 w 9144000"/>
              <a:gd name="connsiteY7" fmla="*/ 5129645 h 5129645"/>
              <a:gd name="connsiteX8" fmla="*/ 0 w 9144000"/>
              <a:gd name="connsiteY8" fmla="*/ 5129645 h 5129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29645">
                <a:moveTo>
                  <a:pt x="0" y="0"/>
                </a:moveTo>
                <a:lnTo>
                  <a:pt x="299024" y="0"/>
                </a:lnTo>
                <a:lnTo>
                  <a:pt x="1308330" y="3600232"/>
                </a:lnTo>
                <a:cubicBezTo>
                  <a:pt x="1508018" y="4312528"/>
                  <a:pt x="2247327" y="4728078"/>
                  <a:pt x="2959623" y="4528390"/>
                </a:cubicBezTo>
                <a:lnTo>
                  <a:pt x="8736252" y="2908944"/>
                </a:lnTo>
                <a:cubicBezTo>
                  <a:pt x="8869808" y="2871502"/>
                  <a:pt x="8992931" y="2815089"/>
                  <a:pt x="9103522" y="2743441"/>
                </a:cubicBezTo>
                <a:lnTo>
                  <a:pt x="9144000" y="2714286"/>
                </a:lnTo>
                <a:lnTo>
                  <a:pt x="9144000" y="5129645"/>
                </a:lnTo>
                <a:lnTo>
                  <a:pt x="0" y="5129645"/>
                </a:lnTo>
                <a:close/>
              </a:path>
            </a:pathLst>
          </a:custGeom>
          <a:solidFill>
            <a:schemeClr val="tx1"/>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b="0" i="0">
              <a:latin typeface="TT Commons Pro" panose="020B0103030102020204" pitchFamily="34" charset="77"/>
            </a:endParaRPr>
          </a:p>
        </p:txBody>
      </p:sp>
      <p:sp>
        <p:nvSpPr>
          <p:cNvPr id="3" name="Subtitle 2">
            <a:extLst>
              <a:ext uri="{FF2B5EF4-FFF2-40B4-BE49-F238E27FC236}">
                <a16:creationId xmlns:a16="http://schemas.microsoft.com/office/drawing/2014/main" id="{0E88E396-5733-9140-879C-C0543A2039EE}"/>
              </a:ext>
            </a:extLst>
          </p:cNvPr>
          <p:cNvSpPr>
            <a:spLocks noGrp="1"/>
          </p:cNvSpPr>
          <p:nvPr>
            <p:ph type="subTitle" idx="1"/>
          </p:nvPr>
        </p:nvSpPr>
        <p:spPr>
          <a:xfrm>
            <a:off x="2396589" y="2964591"/>
            <a:ext cx="7578103" cy="448559"/>
          </a:xfrm>
        </p:spPr>
        <p:txBody>
          <a:bodyPr/>
          <a:lstStyle>
            <a:lvl1pPr marL="0" indent="0" algn="l">
              <a:buNone/>
              <a:defRPr sz="3200" b="0" i="0">
                <a:solidFill>
                  <a:schemeClr val="tx1">
                    <a:lumMod val="95000"/>
                  </a:schemeClr>
                </a:solidFill>
                <a:latin typeface="TT Commons Pro" panose="020B0103030102020204" pitchFamily="34" charset="77"/>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p>
        </p:txBody>
      </p:sp>
      <p:sp>
        <p:nvSpPr>
          <p:cNvPr id="10" name="Rectangle 9">
            <a:extLst>
              <a:ext uri="{FF2B5EF4-FFF2-40B4-BE49-F238E27FC236}">
                <a16:creationId xmlns:a16="http://schemas.microsoft.com/office/drawing/2014/main" id="{0AA39EE3-68E7-5F4E-B600-2E89C95121CE}"/>
              </a:ext>
            </a:extLst>
          </p:cNvPr>
          <p:cNvSpPr/>
          <p:nvPr userDrawn="1"/>
        </p:nvSpPr>
        <p:spPr>
          <a:xfrm>
            <a:off x="2066388" y="2964591"/>
            <a:ext cx="207925" cy="15521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solidFill>
                <a:schemeClr val="accent1"/>
              </a:solidFill>
              <a:latin typeface="TT Commons Pro" panose="020B0103030102020204" pitchFamily="34" charset="77"/>
            </a:endParaRPr>
          </a:p>
        </p:txBody>
      </p:sp>
      <p:sp>
        <p:nvSpPr>
          <p:cNvPr id="12" name="Text Placeholder 11">
            <a:extLst>
              <a:ext uri="{FF2B5EF4-FFF2-40B4-BE49-F238E27FC236}">
                <a16:creationId xmlns:a16="http://schemas.microsoft.com/office/drawing/2014/main" id="{889397A8-AF8F-AA4D-BE99-8DB0CF3B1EBC}"/>
              </a:ext>
            </a:extLst>
          </p:cNvPr>
          <p:cNvSpPr>
            <a:spLocks noGrp="1"/>
          </p:cNvSpPr>
          <p:nvPr>
            <p:ph type="body" sz="quarter" idx="13"/>
          </p:nvPr>
        </p:nvSpPr>
        <p:spPr>
          <a:xfrm>
            <a:off x="2396588" y="3655959"/>
            <a:ext cx="5959621" cy="448559"/>
          </a:xfrm>
        </p:spPr>
        <p:txBody>
          <a:bodyPr>
            <a:noAutofit/>
          </a:bodyPr>
          <a:lstStyle>
            <a:lvl1pPr marL="10584"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sz="2133" b="0" i="0">
                <a:solidFill>
                  <a:schemeClr val="tx1">
                    <a:lumMod val="95000"/>
                  </a:schemeClr>
                </a:solidFill>
                <a:latin typeface="TT Commons Pro" panose="020B0103030102020204" pitchFamily="34" charset="77"/>
              </a:defRPr>
            </a:lvl1pPr>
            <a:lvl2pPr marL="613818" indent="0">
              <a:buFont typeface="Arial" panose="020B0604020202020204" pitchFamily="34" charset="0"/>
              <a:buNone/>
              <a:defRPr sz="2400">
                <a:solidFill>
                  <a:schemeClr val="bg1"/>
                </a:solidFill>
              </a:defRPr>
            </a:lvl2pPr>
            <a:lvl3pPr marL="1219170" indent="0">
              <a:buNone/>
              <a:defRPr sz="2400">
                <a:solidFill>
                  <a:schemeClr val="bg1"/>
                </a:solidFill>
              </a:defRPr>
            </a:lvl3pPr>
            <a:lvl4pPr marL="1828754" indent="0">
              <a:buNone/>
              <a:defRPr sz="2400">
                <a:solidFill>
                  <a:schemeClr val="bg1"/>
                </a:solidFill>
              </a:defRPr>
            </a:lvl4pPr>
            <a:lvl5pPr marL="2438339" indent="0">
              <a:buNone/>
              <a:defRPr sz="2400">
                <a:solidFill>
                  <a:schemeClr val="bg1"/>
                </a:solidFill>
              </a:defRPr>
            </a:lvl5pPr>
          </a:lstStyle>
          <a:p>
            <a:pPr lvl="0"/>
            <a:r>
              <a:rPr lang="en-US"/>
              <a:t>Click to edit Master text styles</a:t>
            </a:r>
          </a:p>
        </p:txBody>
      </p:sp>
      <p:sp>
        <p:nvSpPr>
          <p:cNvPr id="14" name="Text Placeholder 11">
            <a:extLst>
              <a:ext uri="{FF2B5EF4-FFF2-40B4-BE49-F238E27FC236}">
                <a16:creationId xmlns:a16="http://schemas.microsoft.com/office/drawing/2014/main" id="{C08B823A-FFB0-1D48-9D9E-B4CC4F6E3C3D}"/>
              </a:ext>
            </a:extLst>
          </p:cNvPr>
          <p:cNvSpPr>
            <a:spLocks noGrp="1"/>
          </p:cNvSpPr>
          <p:nvPr>
            <p:ph type="body" sz="quarter" idx="14"/>
          </p:nvPr>
        </p:nvSpPr>
        <p:spPr>
          <a:xfrm>
            <a:off x="2396588" y="4053350"/>
            <a:ext cx="5959621" cy="448559"/>
          </a:xfrm>
        </p:spPr>
        <p:txBody>
          <a:bodyPr>
            <a:noAutofit/>
          </a:bodyPr>
          <a:lstStyle>
            <a:lvl1pPr marL="10584"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sz="2133" b="0" i="0">
                <a:solidFill>
                  <a:schemeClr val="tx1">
                    <a:lumMod val="95000"/>
                  </a:schemeClr>
                </a:solidFill>
                <a:latin typeface="TT Commons Pro" panose="020B0103030102020204" pitchFamily="34" charset="77"/>
              </a:defRPr>
            </a:lvl1pPr>
            <a:lvl2pPr marL="613818" indent="0">
              <a:buFont typeface="Arial" panose="020B0604020202020204" pitchFamily="34" charset="0"/>
              <a:buNone/>
              <a:defRPr sz="2400">
                <a:solidFill>
                  <a:schemeClr val="bg1"/>
                </a:solidFill>
              </a:defRPr>
            </a:lvl2pPr>
            <a:lvl3pPr marL="1219170" indent="0">
              <a:buNone/>
              <a:defRPr sz="2400">
                <a:solidFill>
                  <a:schemeClr val="bg1"/>
                </a:solidFill>
              </a:defRPr>
            </a:lvl3pPr>
            <a:lvl4pPr marL="1828754" indent="0">
              <a:buNone/>
              <a:defRPr sz="2400">
                <a:solidFill>
                  <a:schemeClr val="bg1"/>
                </a:solidFill>
              </a:defRPr>
            </a:lvl4pPr>
            <a:lvl5pPr marL="2438339" indent="0">
              <a:buNone/>
              <a:defRPr sz="2400">
                <a:solidFill>
                  <a:schemeClr val="bg1"/>
                </a:solidFill>
              </a:defRPr>
            </a:lvl5pPr>
          </a:lstStyle>
          <a:p>
            <a:pPr lvl="0"/>
            <a:r>
              <a:rPr lang="en-US"/>
              <a:t>Click to edit Master text styles</a:t>
            </a:r>
          </a:p>
        </p:txBody>
      </p:sp>
      <p:sp>
        <p:nvSpPr>
          <p:cNvPr id="8" name="Title 1">
            <a:extLst>
              <a:ext uri="{FF2B5EF4-FFF2-40B4-BE49-F238E27FC236}">
                <a16:creationId xmlns:a16="http://schemas.microsoft.com/office/drawing/2014/main" id="{7C90ECE9-DF03-CA40-9C15-B895943AB15D}"/>
              </a:ext>
            </a:extLst>
          </p:cNvPr>
          <p:cNvSpPr>
            <a:spLocks noGrp="1"/>
          </p:cNvSpPr>
          <p:nvPr>
            <p:ph type="title"/>
          </p:nvPr>
        </p:nvSpPr>
        <p:spPr>
          <a:xfrm>
            <a:off x="2066388" y="414476"/>
            <a:ext cx="8331200" cy="2385483"/>
          </a:xfrm>
        </p:spPr>
        <p:txBody>
          <a:bodyPr vert="horz" anchor="b">
            <a:normAutofit/>
          </a:bodyPr>
          <a:lstStyle>
            <a:lvl1pPr>
              <a:defRPr sz="7066" b="0" i="0">
                <a:solidFill>
                  <a:schemeClr val="tx1">
                    <a:lumMod val="95000"/>
                  </a:schemeClr>
                </a:solidFill>
                <a:latin typeface="TT Commons Pro" panose="020B0103030102020204" pitchFamily="34" charset="77"/>
              </a:defRPr>
            </a:lvl1pPr>
          </a:lstStyle>
          <a:p>
            <a:r>
              <a:rPr lang="en-US"/>
              <a:t>Click to edit Master title style</a:t>
            </a:r>
          </a:p>
        </p:txBody>
      </p:sp>
      <p:pic>
        <p:nvPicPr>
          <p:cNvPr id="13" name="Picture 12">
            <a:extLst>
              <a:ext uri="{FF2B5EF4-FFF2-40B4-BE49-F238E27FC236}">
                <a16:creationId xmlns:a16="http://schemas.microsoft.com/office/drawing/2014/main" id="{F71125DD-4D25-06DE-CCA3-2B7FFCC9C833}"/>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0477344" y="6364646"/>
            <a:ext cx="1257457" cy="249708"/>
          </a:xfrm>
          <a:prstGeom prst="rect">
            <a:avLst/>
          </a:prstGeom>
        </p:spPr>
      </p:pic>
      <p:sp>
        <p:nvSpPr>
          <p:cNvPr id="4" name="Rounded Rectangle 3">
            <a:extLst>
              <a:ext uri="{FF2B5EF4-FFF2-40B4-BE49-F238E27FC236}">
                <a16:creationId xmlns:a16="http://schemas.microsoft.com/office/drawing/2014/main" id="{D64EB42D-2BE1-573D-9175-DE179E4537C9}"/>
              </a:ext>
            </a:extLst>
          </p:cNvPr>
          <p:cNvSpPr/>
          <p:nvPr userDrawn="1"/>
        </p:nvSpPr>
        <p:spPr>
          <a:xfrm rot="20664081">
            <a:off x="843052" y="-3248920"/>
            <a:ext cx="11650808" cy="8369887"/>
          </a:xfrm>
          <a:prstGeom prst="roundRect">
            <a:avLst>
              <a:gd name="adj" fmla="val 21450"/>
            </a:avLst>
          </a:prstGeom>
          <a:solidFill>
            <a:schemeClr val="accent1">
              <a:alpha val="5618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a:latin typeface="TT Commons Pro" panose="020B0103030102020204" pitchFamily="34" charset="77"/>
            </a:endParaRPr>
          </a:p>
        </p:txBody>
      </p:sp>
    </p:spTree>
    <p:extLst>
      <p:ext uri="{BB962C8B-B14F-4D97-AF65-F5344CB8AC3E}">
        <p14:creationId xmlns:p14="http://schemas.microsoft.com/office/powerpoint/2010/main" val="7150979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tandard - Section Header">
    <p:bg>
      <p:bgPr>
        <a:gradFill flip="none" rotWithShape="1">
          <a:gsLst>
            <a:gs pos="0">
              <a:schemeClr val="accent6">
                <a:lumMod val="67000"/>
              </a:schemeClr>
            </a:gs>
            <a:gs pos="15000">
              <a:schemeClr val="accent6">
                <a:lumMod val="97000"/>
                <a:lumOff val="3000"/>
              </a:schemeClr>
            </a:gs>
            <a:gs pos="60000">
              <a:schemeClr val="accent6">
                <a:lumMod val="60000"/>
                <a:lumOff val="40000"/>
              </a:schemeClr>
            </a:gs>
          </a:gsLst>
          <a:lin ang="10800000" scaled="1"/>
          <a:tileRect/>
        </a:gradFill>
        <a:effectLst/>
      </p:bgPr>
    </p:bg>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3B491D1D-8D34-414C-97A2-2312BBACA9A1}"/>
              </a:ext>
            </a:extLst>
          </p:cNvPr>
          <p:cNvSpPr>
            <a:spLocks noChangeAspect="1"/>
          </p:cNvSpPr>
          <p:nvPr userDrawn="1"/>
        </p:nvSpPr>
        <p:spPr>
          <a:xfrm rot="17548083">
            <a:off x="-404737" y="-1019164"/>
            <a:ext cx="8365695" cy="10147256"/>
          </a:xfrm>
          <a:custGeom>
            <a:avLst/>
            <a:gdLst>
              <a:gd name="connsiteX0" fmla="*/ 0 w 5976594"/>
              <a:gd name="connsiteY0" fmla="*/ 1137943 h 7083059"/>
              <a:gd name="connsiteX1" fmla="*/ 1137943 w 5976594"/>
              <a:gd name="connsiteY1" fmla="*/ 0 h 7083059"/>
              <a:gd name="connsiteX2" fmla="*/ 4838651 w 5976594"/>
              <a:gd name="connsiteY2" fmla="*/ 0 h 7083059"/>
              <a:gd name="connsiteX3" fmla="*/ 5976594 w 5976594"/>
              <a:gd name="connsiteY3" fmla="*/ 1137943 h 7083059"/>
              <a:gd name="connsiteX4" fmla="*/ 5976594 w 5976594"/>
              <a:gd name="connsiteY4" fmla="*/ 5945116 h 7083059"/>
              <a:gd name="connsiteX5" fmla="*/ 4838651 w 5976594"/>
              <a:gd name="connsiteY5" fmla="*/ 7083059 h 7083059"/>
              <a:gd name="connsiteX6" fmla="*/ 1137943 w 5976594"/>
              <a:gd name="connsiteY6" fmla="*/ 7083059 h 7083059"/>
              <a:gd name="connsiteX7" fmla="*/ 0 w 5976594"/>
              <a:gd name="connsiteY7" fmla="*/ 5945116 h 7083059"/>
              <a:gd name="connsiteX8" fmla="*/ 0 w 5976594"/>
              <a:gd name="connsiteY8" fmla="*/ 1137943 h 7083059"/>
              <a:gd name="connsiteX0" fmla="*/ 0 w 6555807"/>
              <a:gd name="connsiteY0" fmla="*/ 3119022 h 7083059"/>
              <a:gd name="connsiteX1" fmla="*/ 1717156 w 6555807"/>
              <a:gd name="connsiteY1" fmla="*/ 0 h 7083059"/>
              <a:gd name="connsiteX2" fmla="*/ 5417864 w 6555807"/>
              <a:gd name="connsiteY2" fmla="*/ 0 h 7083059"/>
              <a:gd name="connsiteX3" fmla="*/ 6555807 w 6555807"/>
              <a:gd name="connsiteY3" fmla="*/ 1137943 h 7083059"/>
              <a:gd name="connsiteX4" fmla="*/ 6555807 w 6555807"/>
              <a:gd name="connsiteY4" fmla="*/ 5945116 h 7083059"/>
              <a:gd name="connsiteX5" fmla="*/ 5417864 w 6555807"/>
              <a:gd name="connsiteY5" fmla="*/ 7083059 h 7083059"/>
              <a:gd name="connsiteX6" fmla="*/ 1717156 w 6555807"/>
              <a:gd name="connsiteY6" fmla="*/ 7083059 h 7083059"/>
              <a:gd name="connsiteX7" fmla="*/ 579213 w 6555807"/>
              <a:gd name="connsiteY7" fmla="*/ 5945116 h 7083059"/>
              <a:gd name="connsiteX8" fmla="*/ 0 w 6555807"/>
              <a:gd name="connsiteY8" fmla="*/ 3119022 h 7083059"/>
              <a:gd name="connsiteX0" fmla="*/ 0 w 6555807"/>
              <a:gd name="connsiteY0" fmla="*/ 3119022 h 7083059"/>
              <a:gd name="connsiteX1" fmla="*/ 5417864 w 6555807"/>
              <a:gd name="connsiteY1" fmla="*/ 0 h 7083059"/>
              <a:gd name="connsiteX2" fmla="*/ 6555807 w 6555807"/>
              <a:gd name="connsiteY2" fmla="*/ 1137943 h 7083059"/>
              <a:gd name="connsiteX3" fmla="*/ 6555807 w 6555807"/>
              <a:gd name="connsiteY3" fmla="*/ 5945116 h 7083059"/>
              <a:gd name="connsiteX4" fmla="*/ 5417864 w 6555807"/>
              <a:gd name="connsiteY4" fmla="*/ 7083059 h 7083059"/>
              <a:gd name="connsiteX5" fmla="*/ 1717156 w 6555807"/>
              <a:gd name="connsiteY5" fmla="*/ 7083059 h 7083059"/>
              <a:gd name="connsiteX6" fmla="*/ 579213 w 6555807"/>
              <a:gd name="connsiteY6" fmla="*/ 5945116 h 7083059"/>
              <a:gd name="connsiteX7" fmla="*/ 0 w 6555807"/>
              <a:gd name="connsiteY7" fmla="*/ 3119022 h 7083059"/>
              <a:gd name="connsiteX0" fmla="*/ 336585 w 6892392"/>
              <a:gd name="connsiteY0" fmla="*/ 3119022 h 7083059"/>
              <a:gd name="connsiteX1" fmla="*/ 5754449 w 6892392"/>
              <a:gd name="connsiteY1" fmla="*/ 0 h 7083059"/>
              <a:gd name="connsiteX2" fmla="*/ 6892392 w 6892392"/>
              <a:gd name="connsiteY2" fmla="*/ 1137943 h 7083059"/>
              <a:gd name="connsiteX3" fmla="*/ 6892392 w 6892392"/>
              <a:gd name="connsiteY3" fmla="*/ 5945116 h 7083059"/>
              <a:gd name="connsiteX4" fmla="*/ 5754449 w 6892392"/>
              <a:gd name="connsiteY4" fmla="*/ 7083059 h 7083059"/>
              <a:gd name="connsiteX5" fmla="*/ 2053741 w 6892392"/>
              <a:gd name="connsiteY5" fmla="*/ 7083059 h 7083059"/>
              <a:gd name="connsiteX6" fmla="*/ 915798 w 6892392"/>
              <a:gd name="connsiteY6" fmla="*/ 5945116 h 7083059"/>
              <a:gd name="connsiteX7" fmla="*/ 336585 w 6892392"/>
              <a:gd name="connsiteY7" fmla="*/ 3119022 h 7083059"/>
              <a:gd name="connsiteX0" fmla="*/ 459591 w 6398298"/>
              <a:gd name="connsiteY0" fmla="*/ 2059011 h 7083059"/>
              <a:gd name="connsiteX1" fmla="*/ 5260355 w 6398298"/>
              <a:gd name="connsiteY1" fmla="*/ 0 h 7083059"/>
              <a:gd name="connsiteX2" fmla="*/ 6398298 w 6398298"/>
              <a:gd name="connsiteY2" fmla="*/ 1137943 h 7083059"/>
              <a:gd name="connsiteX3" fmla="*/ 6398298 w 6398298"/>
              <a:gd name="connsiteY3" fmla="*/ 5945116 h 7083059"/>
              <a:gd name="connsiteX4" fmla="*/ 5260355 w 6398298"/>
              <a:gd name="connsiteY4" fmla="*/ 7083059 h 7083059"/>
              <a:gd name="connsiteX5" fmla="*/ 1559647 w 6398298"/>
              <a:gd name="connsiteY5" fmla="*/ 7083059 h 7083059"/>
              <a:gd name="connsiteX6" fmla="*/ 421704 w 6398298"/>
              <a:gd name="connsiteY6" fmla="*/ 5945116 h 7083059"/>
              <a:gd name="connsiteX7" fmla="*/ 459591 w 6398298"/>
              <a:gd name="connsiteY7" fmla="*/ 2059011 h 7083059"/>
              <a:gd name="connsiteX0" fmla="*/ 459591 w 6398298"/>
              <a:gd name="connsiteY0" fmla="*/ 2059011 h 7083059"/>
              <a:gd name="connsiteX1" fmla="*/ 5260355 w 6398298"/>
              <a:gd name="connsiteY1" fmla="*/ 0 h 7083059"/>
              <a:gd name="connsiteX2" fmla="*/ 6398298 w 6398298"/>
              <a:gd name="connsiteY2" fmla="*/ 1137943 h 7083059"/>
              <a:gd name="connsiteX3" fmla="*/ 6398298 w 6398298"/>
              <a:gd name="connsiteY3" fmla="*/ 5945116 h 7083059"/>
              <a:gd name="connsiteX4" fmla="*/ 5260355 w 6398298"/>
              <a:gd name="connsiteY4" fmla="*/ 7083059 h 7083059"/>
              <a:gd name="connsiteX5" fmla="*/ 1559647 w 6398298"/>
              <a:gd name="connsiteY5" fmla="*/ 7083059 h 7083059"/>
              <a:gd name="connsiteX6" fmla="*/ 421704 w 6398298"/>
              <a:gd name="connsiteY6" fmla="*/ 5945116 h 7083059"/>
              <a:gd name="connsiteX7" fmla="*/ 459591 w 6398298"/>
              <a:gd name="connsiteY7" fmla="*/ 2059011 h 7083059"/>
              <a:gd name="connsiteX0" fmla="*/ 202294 w 6141001"/>
              <a:gd name="connsiteY0" fmla="*/ 2059011 h 7083059"/>
              <a:gd name="connsiteX1" fmla="*/ 5003058 w 6141001"/>
              <a:gd name="connsiteY1" fmla="*/ 0 h 7083059"/>
              <a:gd name="connsiteX2" fmla="*/ 6141001 w 6141001"/>
              <a:gd name="connsiteY2" fmla="*/ 1137943 h 7083059"/>
              <a:gd name="connsiteX3" fmla="*/ 6141001 w 6141001"/>
              <a:gd name="connsiteY3" fmla="*/ 5945116 h 7083059"/>
              <a:gd name="connsiteX4" fmla="*/ 5003058 w 6141001"/>
              <a:gd name="connsiteY4" fmla="*/ 7083059 h 7083059"/>
              <a:gd name="connsiteX5" fmla="*/ 1302350 w 6141001"/>
              <a:gd name="connsiteY5" fmla="*/ 7083059 h 7083059"/>
              <a:gd name="connsiteX6" fmla="*/ 202294 w 6141001"/>
              <a:gd name="connsiteY6" fmla="*/ 2059011 h 7083059"/>
              <a:gd name="connsiteX0" fmla="*/ 123570 w 6062277"/>
              <a:gd name="connsiteY0" fmla="*/ 2059011 h 7083059"/>
              <a:gd name="connsiteX1" fmla="*/ 4924334 w 6062277"/>
              <a:gd name="connsiteY1" fmla="*/ 0 h 7083059"/>
              <a:gd name="connsiteX2" fmla="*/ 6062277 w 6062277"/>
              <a:gd name="connsiteY2" fmla="*/ 1137943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23570 w 6062277"/>
              <a:gd name="connsiteY0" fmla="*/ 2059011 h 7083059"/>
              <a:gd name="connsiteX1" fmla="*/ 4924334 w 6062277"/>
              <a:gd name="connsiteY1" fmla="*/ 0 h 7083059"/>
              <a:gd name="connsiteX2" fmla="*/ 6060370 w 6062277"/>
              <a:gd name="connsiteY2" fmla="*/ 2919852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23570 w 6062277"/>
              <a:gd name="connsiteY0" fmla="*/ 2059011 h 7083059"/>
              <a:gd name="connsiteX1" fmla="*/ 4924334 w 6062277"/>
              <a:gd name="connsiteY1" fmla="*/ 0 h 7083059"/>
              <a:gd name="connsiteX2" fmla="*/ 6060370 w 6062277"/>
              <a:gd name="connsiteY2" fmla="*/ 2919852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23570 w 6062277"/>
              <a:gd name="connsiteY0" fmla="*/ 2059011 h 7083059"/>
              <a:gd name="connsiteX1" fmla="*/ 4924334 w 6062277"/>
              <a:gd name="connsiteY1" fmla="*/ 0 h 7083059"/>
              <a:gd name="connsiteX2" fmla="*/ 6060370 w 6062277"/>
              <a:gd name="connsiteY2" fmla="*/ 2919852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82803 w 6121510"/>
              <a:gd name="connsiteY0" fmla="*/ 2059011 h 7083059"/>
              <a:gd name="connsiteX1" fmla="*/ 4983567 w 6121510"/>
              <a:gd name="connsiteY1" fmla="*/ 0 h 7083059"/>
              <a:gd name="connsiteX2" fmla="*/ 6119603 w 6121510"/>
              <a:gd name="connsiteY2" fmla="*/ 2919852 h 7083059"/>
              <a:gd name="connsiteX3" fmla="*/ 6121510 w 6121510"/>
              <a:gd name="connsiteY3" fmla="*/ 5945116 h 7083059"/>
              <a:gd name="connsiteX4" fmla="*/ 4983567 w 6121510"/>
              <a:gd name="connsiteY4" fmla="*/ 7083059 h 7083059"/>
              <a:gd name="connsiteX5" fmla="*/ 2217906 w 6121510"/>
              <a:gd name="connsiteY5" fmla="*/ 7078972 h 7083059"/>
              <a:gd name="connsiteX6" fmla="*/ 182803 w 6121510"/>
              <a:gd name="connsiteY6" fmla="*/ 2059011 h 7083059"/>
              <a:gd name="connsiteX0" fmla="*/ 467 w 5939174"/>
              <a:gd name="connsiteY0" fmla="*/ 2059011 h 7083059"/>
              <a:gd name="connsiteX1" fmla="*/ 4801231 w 5939174"/>
              <a:gd name="connsiteY1" fmla="*/ 0 h 7083059"/>
              <a:gd name="connsiteX2" fmla="*/ 5937267 w 5939174"/>
              <a:gd name="connsiteY2" fmla="*/ 2919852 h 7083059"/>
              <a:gd name="connsiteX3" fmla="*/ 5939174 w 5939174"/>
              <a:gd name="connsiteY3" fmla="*/ 5945116 h 7083059"/>
              <a:gd name="connsiteX4" fmla="*/ 4801231 w 5939174"/>
              <a:gd name="connsiteY4" fmla="*/ 7083059 h 7083059"/>
              <a:gd name="connsiteX5" fmla="*/ 2035570 w 5939174"/>
              <a:gd name="connsiteY5" fmla="*/ 7078972 h 7083059"/>
              <a:gd name="connsiteX6" fmla="*/ 467 w 5939174"/>
              <a:gd name="connsiteY6" fmla="*/ 2059011 h 7083059"/>
              <a:gd name="connsiteX0" fmla="*/ 173 w 5938880"/>
              <a:gd name="connsiteY0" fmla="*/ 2059011 h 7083059"/>
              <a:gd name="connsiteX1" fmla="*/ 4800937 w 5938880"/>
              <a:gd name="connsiteY1" fmla="*/ 0 h 7083059"/>
              <a:gd name="connsiteX2" fmla="*/ 5936973 w 5938880"/>
              <a:gd name="connsiteY2" fmla="*/ 2919852 h 7083059"/>
              <a:gd name="connsiteX3" fmla="*/ 5938880 w 5938880"/>
              <a:gd name="connsiteY3" fmla="*/ 5945116 h 7083059"/>
              <a:gd name="connsiteX4" fmla="*/ 4800937 w 5938880"/>
              <a:gd name="connsiteY4" fmla="*/ 7083059 h 7083059"/>
              <a:gd name="connsiteX5" fmla="*/ 2035276 w 5938880"/>
              <a:gd name="connsiteY5" fmla="*/ 7078972 h 7083059"/>
              <a:gd name="connsiteX6" fmla="*/ 173 w 5938880"/>
              <a:gd name="connsiteY6" fmla="*/ 2059011 h 7083059"/>
              <a:gd name="connsiteX0" fmla="*/ 173 w 5938880"/>
              <a:gd name="connsiteY0" fmla="*/ 2078580 h 7102628"/>
              <a:gd name="connsiteX1" fmla="*/ 4800937 w 5938880"/>
              <a:gd name="connsiteY1" fmla="*/ 19569 h 7102628"/>
              <a:gd name="connsiteX2" fmla="*/ 5936973 w 5938880"/>
              <a:gd name="connsiteY2" fmla="*/ 2939421 h 7102628"/>
              <a:gd name="connsiteX3" fmla="*/ 5938880 w 5938880"/>
              <a:gd name="connsiteY3" fmla="*/ 5964685 h 7102628"/>
              <a:gd name="connsiteX4" fmla="*/ 4800937 w 5938880"/>
              <a:gd name="connsiteY4" fmla="*/ 7102628 h 7102628"/>
              <a:gd name="connsiteX5" fmla="*/ 2035276 w 5938880"/>
              <a:gd name="connsiteY5" fmla="*/ 7098541 h 7102628"/>
              <a:gd name="connsiteX6" fmla="*/ 173 w 5938880"/>
              <a:gd name="connsiteY6" fmla="*/ 2078580 h 7102628"/>
              <a:gd name="connsiteX0" fmla="*/ 173 w 5938880"/>
              <a:gd name="connsiteY0" fmla="*/ 2059022 h 7083070"/>
              <a:gd name="connsiteX1" fmla="*/ 4800937 w 5938880"/>
              <a:gd name="connsiteY1" fmla="*/ 11 h 7083070"/>
              <a:gd name="connsiteX2" fmla="*/ 5936973 w 5938880"/>
              <a:gd name="connsiteY2" fmla="*/ 2919863 h 7083070"/>
              <a:gd name="connsiteX3" fmla="*/ 5938880 w 5938880"/>
              <a:gd name="connsiteY3" fmla="*/ 5945127 h 7083070"/>
              <a:gd name="connsiteX4" fmla="*/ 4800937 w 5938880"/>
              <a:gd name="connsiteY4" fmla="*/ 7083070 h 7083070"/>
              <a:gd name="connsiteX5" fmla="*/ 2035276 w 5938880"/>
              <a:gd name="connsiteY5" fmla="*/ 7078983 h 7083070"/>
              <a:gd name="connsiteX6" fmla="*/ 173 w 5938880"/>
              <a:gd name="connsiteY6" fmla="*/ 2059022 h 7083070"/>
              <a:gd name="connsiteX0" fmla="*/ 107 w 5938814"/>
              <a:gd name="connsiteY0" fmla="*/ 2059022 h 7083070"/>
              <a:gd name="connsiteX1" fmla="*/ 4800871 w 5938814"/>
              <a:gd name="connsiteY1" fmla="*/ 11 h 7083070"/>
              <a:gd name="connsiteX2" fmla="*/ 5936907 w 5938814"/>
              <a:gd name="connsiteY2" fmla="*/ 2919863 h 7083070"/>
              <a:gd name="connsiteX3" fmla="*/ 5938814 w 5938814"/>
              <a:gd name="connsiteY3" fmla="*/ 5945127 h 7083070"/>
              <a:gd name="connsiteX4" fmla="*/ 4800871 w 5938814"/>
              <a:gd name="connsiteY4" fmla="*/ 7083070 h 7083070"/>
              <a:gd name="connsiteX5" fmla="*/ 2035210 w 5938814"/>
              <a:gd name="connsiteY5" fmla="*/ 7078983 h 7083070"/>
              <a:gd name="connsiteX6" fmla="*/ 107 w 5938814"/>
              <a:gd name="connsiteY6" fmla="*/ 2059022 h 7083070"/>
              <a:gd name="connsiteX0" fmla="*/ 107 w 5938814"/>
              <a:gd name="connsiteY0" fmla="*/ 2059020 h 7083068"/>
              <a:gd name="connsiteX1" fmla="*/ 4800871 w 5938814"/>
              <a:gd name="connsiteY1" fmla="*/ 9 h 7083068"/>
              <a:gd name="connsiteX2" fmla="*/ 5936907 w 5938814"/>
              <a:gd name="connsiteY2" fmla="*/ 2919861 h 7083068"/>
              <a:gd name="connsiteX3" fmla="*/ 5938814 w 5938814"/>
              <a:gd name="connsiteY3" fmla="*/ 5945125 h 7083068"/>
              <a:gd name="connsiteX4" fmla="*/ 4800871 w 5938814"/>
              <a:gd name="connsiteY4" fmla="*/ 7083068 h 7083068"/>
              <a:gd name="connsiteX5" fmla="*/ 2035210 w 5938814"/>
              <a:gd name="connsiteY5" fmla="*/ 7078981 h 7083068"/>
              <a:gd name="connsiteX6" fmla="*/ 107 w 5938814"/>
              <a:gd name="connsiteY6" fmla="*/ 2059020 h 7083068"/>
              <a:gd name="connsiteX0" fmla="*/ 65623 w 6004330"/>
              <a:gd name="connsiteY0" fmla="*/ 1373846 h 6397894"/>
              <a:gd name="connsiteX1" fmla="*/ 5108944 w 6004330"/>
              <a:gd name="connsiteY1" fmla="*/ 11 h 6397894"/>
              <a:gd name="connsiteX2" fmla="*/ 6002423 w 6004330"/>
              <a:gd name="connsiteY2" fmla="*/ 2234687 h 6397894"/>
              <a:gd name="connsiteX3" fmla="*/ 6004330 w 6004330"/>
              <a:gd name="connsiteY3" fmla="*/ 5259951 h 6397894"/>
              <a:gd name="connsiteX4" fmla="*/ 4866387 w 6004330"/>
              <a:gd name="connsiteY4" fmla="*/ 6397894 h 6397894"/>
              <a:gd name="connsiteX5" fmla="*/ 2100726 w 6004330"/>
              <a:gd name="connsiteY5" fmla="*/ 6393807 h 6397894"/>
              <a:gd name="connsiteX6" fmla="*/ 65623 w 6004330"/>
              <a:gd name="connsiteY6" fmla="*/ 1373846 h 6397894"/>
              <a:gd name="connsiteX0" fmla="*/ 55746 w 5994453"/>
              <a:gd name="connsiteY0" fmla="*/ 1934374 h 6958422"/>
              <a:gd name="connsiteX1" fmla="*/ 4826449 w 5994453"/>
              <a:gd name="connsiteY1" fmla="*/ 8 h 6958422"/>
              <a:gd name="connsiteX2" fmla="*/ 5992546 w 5994453"/>
              <a:gd name="connsiteY2" fmla="*/ 2795215 h 6958422"/>
              <a:gd name="connsiteX3" fmla="*/ 5994453 w 5994453"/>
              <a:gd name="connsiteY3" fmla="*/ 5820479 h 6958422"/>
              <a:gd name="connsiteX4" fmla="*/ 4856510 w 5994453"/>
              <a:gd name="connsiteY4" fmla="*/ 6958422 h 6958422"/>
              <a:gd name="connsiteX5" fmla="*/ 2090849 w 5994453"/>
              <a:gd name="connsiteY5" fmla="*/ 6954335 h 6958422"/>
              <a:gd name="connsiteX6" fmla="*/ 55746 w 5994453"/>
              <a:gd name="connsiteY6" fmla="*/ 1934374 h 6958422"/>
              <a:gd name="connsiteX0" fmla="*/ 55932 w 5985338"/>
              <a:gd name="connsiteY0" fmla="*/ 1994357 h 6971246"/>
              <a:gd name="connsiteX1" fmla="*/ 4817334 w 5985338"/>
              <a:gd name="connsiteY1" fmla="*/ 12832 h 6971246"/>
              <a:gd name="connsiteX2" fmla="*/ 5983431 w 5985338"/>
              <a:gd name="connsiteY2" fmla="*/ 2808039 h 6971246"/>
              <a:gd name="connsiteX3" fmla="*/ 5985338 w 5985338"/>
              <a:gd name="connsiteY3" fmla="*/ 5833303 h 6971246"/>
              <a:gd name="connsiteX4" fmla="*/ 4847395 w 5985338"/>
              <a:gd name="connsiteY4" fmla="*/ 6971246 h 6971246"/>
              <a:gd name="connsiteX5" fmla="*/ 2081734 w 5985338"/>
              <a:gd name="connsiteY5" fmla="*/ 6967159 h 6971246"/>
              <a:gd name="connsiteX6" fmla="*/ 55932 w 5985338"/>
              <a:gd name="connsiteY6" fmla="*/ 1994357 h 6971246"/>
              <a:gd name="connsiteX0" fmla="*/ 0 w 5929406"/>
              <a:gd name="connsiteY0" fmla="*/ 1994357 h 6971246"/>
              <a:gd name="connsiteX1" fmla="*/ 4761402 w 5929406"/>
              <a:gd name="connsiteY1" fmla="*/ 12832 h 6971246"/>
              <a:gd name="connsiteX2" fmla="*/ 5927499 w 5929406"/>
              <a:gd name="connsiteY2" fmla="*/ 2808039 h 6971246"/>
              <a:gd name="connsiteX3" fmla="*/ 5929406 w 5929406"/>
              <a:gd name="connsiteY3" fmla="*/ 5833303 h 6971246"/>
              <a:gd name="connsiteX4" fmla="*/ 4791463 w 5929406"/>
              <a:gd name="connsiteY4" fmla="*/ 6971246 h 6971246"/>
              <a:gd name="connsiteX5" fmla="*/ 2025802 w 5929406"/>
              <a:gd name="connsiteY5" fmla="*/ 6967159 h 6971246"/>
              <a:gd name="connsiteX6" fmla="*/ 0 w 5929406"/>
              <a:gd name="connsiteY6" fmla="*/ 1994357 h 6971246"/>
              <a:gd name="connsiteX0" fmla="*/ 0 w 5929406"/>
              <a:gd name="connsiteY0" fmla="*/ 1994357 h 6971246"/>
              <a:gd name="connsiteX1" fmla="*/ 4761402 w 5929406"/>
              <a:gd name="connsiteY1" fmla="*/ 12832 h 6971246"/>
              <a:gd name="connsiteX2" fmla="*/ 5927499 w 5929406"/>
              <a:gd name="connsiteY2" fmla="*/ 2808039 h 6971246"/>
              <a:gd name="connsiteX3" fmla="*/ 5929406 w 5929406"/>
              <a:gd name="connsiteY3" fmla="*/ 5833303 h 6971246"/>
              <a:gd name="connsiteX4" fmla="*/ 4791463 w 5929406"/>
              <a:gd name="connsiteY4" fmla="*/ 6971246 h 6971246"/>
              <a:gd name="connsiteX5" fmla="*/ 2025802 w 5929406"/>
              <a:gd name="connsiteY5" fmla="*/ 6967159 h 6971246"/>
              <a:gd name="connsiteX6" fmla="*/ 0 w 5929406"/>
              <a:gd name="connsiteY6" fmla="*/ 1994357 h 6971246"/>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2373481 h 7350370"/>
              <a:gd name="connsiteX1" fmla="*/ 4589452 w 5929406"/>
              <a:gd name="connsiteY1" fmla="*/ 0 h 7350370"/>
              <a:gd name="connsiteX2" fmla="*/ 5927499 w 5929406"/>
              <a:gd name="connsiteY2" fmla="*/ 3187163 h 7350370"/>
              <a:gd name="connsiteX3" fmla="*/ 5929406 w 5929406"/>
              <a:gd name="connsiteY3" fmla="*/ 6212427 h 7350370"/>
              <a:gd name="connsiteX4" fmla="*/ 4791463 w 5929406"/>
              <a:gd name="connsiteY4" fmla="*/ 7350370 h 7350370"/>
              <a:gd name="connsiteX5" fmla="*/ 2025802 w 5929406"/>
              <a:gd name="connsiteY5" fmla="*/ 7346283 h 7350370"/>
              <a:gd name="connsiteX6" fmla="*/ 0 w 5929406"/>
              <a:gd name="connsiteY6" fmla="*/ 2373481 h 7350370"/>
              <a:gd name="connsiteX0" fmla="*/ 0 w 6122234"/>
              <a:gd name="connsiteY0" fmla="*/ 1931042 h 7350370"/>
              <a:gd name="connsiteX1" fmla="*/ 4782280 w 6122234"/>
              <a:gd name="connsiteY1" fmla="*/ 0 h 7350370"/>
              <a:gd name="connsiteX2" fmla="*/ 6120327 w 6122234"/>
              <a:gd name="connsiteY2" fmla="*/ 3187163 h 7350370"/>
              <a:gd name="connsiteX3" fmla="*/ 6122234 w 6122234"/>
              <a:gd name="connsiteY3" fmla="*/ 6212427 h 7350370"/>
              <a:gd name="connsiteX4" fmla="*/ 4984291 w 6122234"/>
              <a:gd name="connsiteY4" fmla="*/ 7350370 h 7350370"/>
              <a:gd name="connsiteX5" fmla="*/ 2218630 w 6122234"/>
              <a:gd name="connsiteY5" fmla="*/ 7346283 h 7350370"/>
              <a:gd name="connsiteX6" fmla="*/ 0 w 6122234"/>
              <a:gd name="connsiteY6" fmla="*/ 1931042 h 7350370"/>
              <a:gd name="connsiteX0" fmla="*/ 0 w 6122234"/>
              <a:gd name="connsiteY0" fmla="*/ 1931042 h 7350370"/>
              <a:gd name="connsiteX1" fmla="*/ 4782280 w 6122234"/>
              <a:gd name="connsiteY1" fmla="*/ 0 h 7350370"/>
              <a:gd name="connsiteX2" fmla="*/ 6120327 w 6122234"/>
              <a:gd name="connsiteY2" fmla="*/ 3187163 h 7350370"/>
              <a:gd name="connsiteX3" fmla="*/ 6122234 w 6122234"/>
              <a:gd name="connsiteY3" fmla="*/ 6212427 h 7350370"/>
              <a:gd name="connsiteX4" fmla="*/ 4984291 w 6122234"/>
              <a:gd name="connsiteY4" fmla="*/ 7350370 h 7350370"/>
              <a:gd name="connsiteX5" fmla="*/ 2296377 w 6122234"/>
              <a:gd name="connsiteY5" fmla="*/ 7343687 h 7350370"/>
              <a:gd name="connsiteX6" fmla="*/ 0 w 6122234"/>
              <a:gd name="connsiteY6" fmla="*/ 1931042 h 7350370"/>
              <a:gd name="connsiteX0" fmla="*/ 0 w 6059860"/>
              <a:gd name="connsiteY0" fmla="*/ 1915098 h 7350370"/>
              <a:gd name="connsiteX1" fmla="*/ 4719906 w 6059860"/>
              <a:gd name="connsiteY1" fmla="*/ 0 h 7350370"/>
              <a:gd name="connsiteX2" fmla="*/ 6057953 w 6059860"/>
              <a:gd name="connsiteY2" fmla="*/ 3187163 h 7350370"/>
              <a:gd name="connsiteX3" fmla="*/ 6059860 w 6059860"/>
              <a:gd name="connsiteY3" fmla="*/ 6212427 h 7350370"/>
              <a:gd name="connsiteX4" fmla="*/ 4921917 w 6059860"/>
              <a:gd name="connsiteY4" fmla="*/ 7350370 h 7350370"/>
              <a:gd name="connsiteX5" fmla="*/ 2234003 w 6059860"/>
              <a:gd name="connsiteY5" fmla="*/ 7343687 h 7350370"/>
              <a:gd name="connsiteX6" fmla="*/ 0 w 6059860"/>
              <a:gd name="connsiteY6" fmla="*/ 1915098 h 7350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59860" h="7350370">
                <a:moveTo>
                  <a:pt x="0" y="1915098"/>
                </a:moveTo>
                <a:lnTo>
                  <a:pt x="4719906" y="0"/>
                </a:lnTo>
                <a:cubicBezTo>
                  <a:pt x="5129161" y="956391"/>
                  <a:pt x="6056273" y="3192676"/>
                  <a:pt x="6057953" y="3187163"/>
                </a:cubicBezTo>
                <a:cubicBezTo>
                  <a:pt x="6058589" y="4195584"/>
                  <a:pt x="6059224" y="5204006"/>
                  <a:pt x="6059860" y="6212427"/>
                </a:cubicBezTo>
                <a:cubicBezTo>
                  <a:pt x="6059860" y="6840896"/>
                  <a:pt x="5550386" y="7350370"/>
                  <a:pt x="4921917" y="7350370"/>
                </a:cubicBezTo>
                <a:lnTo>
                  <a:pt x="2234003" y="7343687"/>
                </a:lnTo>
                <a:cubicBezTo>
                  <a:pt x="2233572" y="7323456"/>
                  <a:pt x="1012901" y="4401499"/>
                  <a:pt x="0" y="191509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TT Commons Pro" panose="020B0103030102020204" pitchFamily="34" charset="77"/>
            </a:endParaRPr>
          </a:p>
        </p:txBody>
      </p:sp>
      <p:sp>
        <p:nvSpPr>
          <p:cNvPr id="8" name="Title 1">
            <a:extLst>
              <a:ext uri="{FF2B5EF4-FFF2-40B4-BE49-F238E27FC236}">
                <a16:creationId xmlns:a16="http://schemas.microsoft.com/office/drawing/2014/main" id="{88CAC241-E489-9E4A-BC88-78C19F65C912}"/>
              </a:ext>
            </a:extLst>
          </p:cNvPr>
          <p:cNvSpPr>
            <a:spLocks noGrp="1"/>
          </p:cNvSpPr>
          <p:nvPr>
            <p:ph type="title"/>
          </p:nvPr>
        </p:nvSpPr>
        <p:spPr>
          <a:xfrm>
            <a:off x="406400" y="1643055"/>
            <a:ext cx="8331200" cy="2385483"/>
          </a:xfrm>
        </p:spPr>
        <p:txBody>
          <a:bodyPr anchor="b">
            <a:normAutofit/>
          </a:bodyPr>
          <a:lstStyle>
            <a:lvl1pPr>
              <a:defRPr sz="5867" b="0" i="0">
                <a:solidFill>
                  <a:schemeClr val="accent1"/>
                </a:solidFill>
                <a:latin typeface="TT Commons Pro" panose="020B0103030102020204" pitchFamily="34" charset="77"/>
              </a:defRPr>
            </a:lvl1pPr>
          </a:lstStyle>
          <a:p>
            <a:r>
              <a:rPr lang="en-US"/>
              <a:t>Click to edit Master title style</a:t>
            </a:r>
          </a:p>
        </p:txBody>
      </p:sp>
      <p:sp>
        <p:nvSpPr>
          <p:cNvPr id="10" name="Text Placeholder 2">
            <a:extLst>
              <a:ext uri="{FF2B5EF4-FFF2-40B4-BE49-F238E27FC236}">
                <a16:creationId xmlns:a16="http://schemas.microsoft.com/office/drawing/2014/main" id="{4813E53E-9CD4-BC4E-9471-F215C9F51739}"/>
              </a:ext>
            </a:extLst>
          </p:cNvPr>
          <p:cNvSpPr>
            <a:spLocks noGrp="1"/>
          </p:cNvSpPr>
          <p:nvPr>
            <p:ph type="body" idx="1"/>
          </p:nvPr>
        </p:nvSpPr>
        <p:spPr>
          <a:xfrm>
            <a:off x="406400" y="4028538"/>
            <a:ext cx="7958667" cy="1644729"/>
          </a:xfrm>
        </p:spPr>
        <p:txBody>
          <a:bodyPr/>
          <a:lstStyle>
            <a:lvl1pPr marL="0" indent="0">
              <a:buNone/>
              <a:defRPr sz="3200" b="0" i="0">
                <a:solidFill>
                  <a:schemeClr val="bg1">
                    <a:lumMod val="95000"/>
                    <a:lumOff val="5000"/>
                  </a:schemeClr>
                </a:solidFill>
                <a:latin typeface="TT Commons Pro" panose="020B0103030102020204" pitchFamily="34" charset="77"/>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t>Click to edit Master text styles</a:t>
            </a:r>
          </a:p>
        </p:txBody>
      </p:sp>
      <p:pic>
        <p:nvPicPr>
          <p:cNvPr id="12" name="Picture 11">
            <a:extLst>
              <a:ext uri="{FF2B5EF4-FFF2-40B4-BE49-F238E27FC236}">
                <a16:creationId xmlns:a16="http://schemas.microsoft.com/office/drawing/2014/main" id="{7B476A96-6205-2E4D-B7A6-7AAA45A8B60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477344" y="6352146"/>
            <a:ext cx="1257457" cy="249708"/>
          </a:xfrm>
          <a:prstGeom prst="rect">
            <a:avLst/>
          </a:prstGeom>
        </p:spPr>
      </p:pic>
    </p:spTree>
    <p:extLst>
      <p:ext uri="{BB962C8B-B14F-4D97-AF65-F5344CB8AC3E}">
        <p14:creationId xmlns:p14="http://schemas.microsoft.com/office/powerpoint/2010/main" val="35606720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BAD1DEA-EB7C-CE68-6F0E-52BFE10D6B6B}"/>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BAD1DEA-EB7C-CE68-6F0E-52BFE10D6B6B}"/>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26" name="Freeform 25">
            <a:extLst>
              <a:ext uri="{FF2B5EF4-FFF2-40B4-BE49-F238E27FC236}">
                <a16:creationId xmlns:a16="http://schemas.microsoft.com/office/drawing/2014/main" id="{30004984-7240-8F5D-1D57-19E6D66F110B}"/>
              </a:ext>
            </a:extLst>
          </p:cNvPr>
          <p:cNvSpPr/>
          <p:nvPr userDrawn="1"/>
        </p:nvSpPr>
        <p:spPr>
          <a:xfrm>
            <a:off x="-32931" y="1"/>
            <a:ext cx="12224931" cy="6858000"/>
          </a:xfrm>
          <a:custGeom>
            <a:avLst/>
            <a:gdLst>
              <a:gd name="connsiteX0" fmla="*/ 0 w 9144000"/>
              <a:gd name="connsiteY0" fmla="*/ 0 h 5129645"/>
              <a:gd name="connsiteX1" fmla="*/ 299024 w 9144000"/>
              <a:gd name="connsiteY1" fmla="*/ 0 h 5129645"/>
              <a:gd name="connsiteX2" fmla="*/ 1308330 w 9144000"/>
              <a:gd name="connsiteY2" fmla="*/ 3600232 h 5129645"/>
              <a:gd name="connsiteX3" fmla="*/ 2959623 w 9144000"/>
              <a:gd name="connsiteY3" fmla="*/ 4528390 h 5129645"/>
              <a:gd name="connsiteX4" fmla="*/ 8736252 w 9144000"/>
              <a:gd name="connsiteY4" fmla="*/ 2908944 h 5129645"/>
              <a:gd name="connsiteX5" fmla="*/ 9103522 w 9144000"/>
              <a:gd name="connsiteY5" fmla="*/ 2743441 h 5129645"/>
              <a:gd name="connsiteX6" fmla="*/ 9144000 w 9144000"/>
              <a:gd name="connsiteY6" fmla="*/ 2714286 h 5129645"/>
              <a:gd name="connsiteX7" fmla="*/ 9144000 w 9144000"/>
              <a:gd name="connsiteY7" fmla="*/ 5129645 h 5129645"/>
              <a:gd name="connsiteX8" fmla="*/ 0 w 9144000"/>
              <a:gd name="connsiteY8" fmla="*/ 5129645 h 5129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5129645">
                <a:moveTo>
                  <a:pt x="0" y="0"/>
                </a:moveTo>
                <a:lnTo>
                  <a:pt x="299024" y="0"/>
                </a:lnTo>
                <a:lnTo>
                  <a:pt x="1308330" y="3600232"/>
                </a:lnTo>
                <a:cubicBezTo>
                  <a:pt x="1508018" y="4312528"/>
                  <a:pt x="2247327" y="4728078"/>
                  <a:pt x="2959623" y="4528390"/>
                </a:cubicBezTo>
                <a:lnTo>
                  <a:pt x="8736252" y="2908944"/>
                </a:lnTo>
                <a:cubicBezTo>
                  <a:pt x="8869808" y="2871502"/>
                  <a:pt x="8992931" y="2815089"/>
                  <a:pt x="9103522" y="2743441"/>
                </a:cubicBezTo>
                <a:lnTo>
                  <a:pt x="9144000" y="2714286"/>
                </a:lnTo>
                <a:lnTo>
                  <a:pt x="9144000" y="5129645"/>
                </a:lnTo>
                <a:lnTo>
                  <a:pt x="0" y="5129645"/>
                </a:lnTo>
                <a:close/>
              </a:path>
            </a:pathLst>
          </a:custGeom>
          <a:solidFill>
            <a:schemeClr val="tx1"/>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b="0" i="0">
              <a:latin typeface="TT Commons Pro" panose="020B0103030102020204" pitchFamily="34" charset="77"/>
            </a:endParaRPr>
          </a:p>
        </p:txBody>
      </p:sp>
      <p:pic>
        <p:nvPicPr>
          <p:cNvPr id="27" name="Picture 26">
            <a:extLst>
              <a:ext uri="{FF2B5EF4-FFF2-40B4-BE49-F238E27FC236}">
                <a16:creationId xmlns:a16="http://schemas.microsoft.com/office/drawing/2014/main" id="{FF16CB96-D803-5365-A143-782C6E7618F2}"/>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0477344" y="6364646"/>
            <a:ext cx="1257457" cy="249708"/>
          </a:xfrm>
          <a:prstGeom prst="rect">
            <a:avLst/>
          </a:prstGeom>
        </p:spPr>
      </p:pic>
    </p:spTree>
    <p:extLst>
      <p:ext uri="{BB962C8B-B14F-4D97-AF65-F5344CB8AC3E}">
        <p14:creationId xmlns:p14="http://schemas.microsoft.com/office/powerpoint/2010/main" val="233906228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A9351A-52D3-E421-EA86-83F54321537A}"/>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73A9351A-52D3-E421-EA86-83F54321537A}"/>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7" name="Rounded Rectangle 6">
            <a:extLst>
              <a:ext uri="{FF2B5EF4-FFF2-40B4-BE49-F238E27FC236}">
                <a16:creationId xmlns:a16="http://schemas.microsoft.com/office/drawing/2014/main" id="{C0716C41-EACB-0A4B-8507-94382E68CCD5}"/>
              </a:ext>
            </a:extLst>
          </p:cNvPr>
          <p:cNvSpPr>
            <a:spLocks noChangeAspect="1"/>
          </p:cNvSpPr>
          <p:nvPr userDrawn="1"/>
        </p:nvSpPr>
        <p:spPr>
          <a:xfrm rot="17548083">
            <a:off x="-462301" y="-1006720"/>
            <a:ext cx="8365695" cy="10147256"/>
          </a:xfrm>
          <a:custGeom>
            <a:avLst/>
            <a:gdLst>
              <a:gd name="connsiteX0" fmla="*/ 0 w 5976594"/>
              <a:gd name="connsiteY0" fmla="*/ 1137943 h 7083059"/>
              <a:gd name="connsiteX1" fmla="*/ 1137943 w 5976594"/>
              <a:gd name="connsiteY1" fmla="*/ 0 h 7083059"/>
              <a:gd name="connsiteX2" fmla="*/ 4838651 w 5976594"/>
              <a:gd name="connsiteY2" fmla="*/ 0 h 7083059"/>
              <a:gd name="connsiteX3" fmla="*/ 5976594 w 5976594"/>
              <a:gd name="connsiteY3" fmla="*/ 1137943 h 7083059"/>
              <a:gd name="connsiteX4" fmla="*/ 5976594 w 5976594"/>
              <a:gd name="connsiteY4" fmla="*/ 5945116 h 7083059"/>
              <a:gd name="connsiteX5" fmla="*/ 4838651 w 5976594"/>
              <a:gd name="connsiteY5" fmla="*/ 7083059 h 7083059"/>
              <a:gd name="connsiteX6" fmla="*/ 1137943 w 5976594"/>
              <a:gd name="connsiteY6" fmla="*/ 7083059 h 7083059"/>
              <a:gd name="connsiteX7" fmla="*/ 0 w 5976594"/>
              <a:gd name="connsiteY7" fmla="*/ 5945116 h 7083059"/>
              <a:gd name="connsiteX8" fmla="*/ 0 w 5976594"/>
              <a:gd name="connsiteY8" fmla="*/ 1137943 h 7083059"/>
              <a:gd name="connsiteX0" fmla="*/ 0 w 6555807"/>
              <a:gd name="connsiteY0" fmla="*/ 3119022 h 7083059"/>
              <a:gd name="connsiteX1" fmla="*/ 1717156 w 6555807"/>
              <a:gd name="connsiteY1" fmla="*/ 0 h 7083059"/>
              <a:gd name="connsiteX2" fmla="*/ 5417864 w 6555807"/>
              <a:gd name="connsiteY2" fmla="*/ 0 h 7083059"/>
              <a:gd name="connsiteX3" fmla="*/ 6555807 w 6555807"/>
              <a:gd name="connsiteY3" fmla="*/ 1137943 h 7083059"/>
              <a:gd name="connsiteX4" fmla="*/ 6555807 w 6555807"/>
              <a:gd name="connsiteY4" fmla="*/ 5945116 h 7083059"/>
              <a:gd name="connsiteX5" fmla="*/ 5417864 w 6555807"/>
              <a:gd name="connsiteY5" fmla="*/ 7083059 h 7083059"/>
              <a:gd name="connsiteX6" fmla="*/ 1717156 w 6555807"/>
              <a:gd name="connsiteY6" fmla="*/ 7083059 h 7083059"/>
              <a:gd name="connsiteX7" fmla="*/ 579213 w 6555807"/>
              <a:gd name="connsiteY7" fmla="*/ 5945116 h 7083059"/>
              <a:gd name="connsiteX8" fmla="*/ 0 w 6555807"/>
              <a:gd name="connsiteY8" fmla="*/ 3119022 h 7083059"/>
              <a:gd name="connsiteX0" fmla="*/ 0 w 6555807"/>
              <a:gd name="connsiteY0" fmla="*/ 3119022 h 7083059"/>
              <a:gd name="connsiteX1" fmla="*/ 5417864 w 6555807"/>
              <a:gd name="connsiteY1" fmla="*/ 0 h 7083059"/>
              <a:gd name="connsiteX2" fmla="*/ 6555807 w 6555807"/>
              <a:gd name="connsiteY2" fmla="*/ 1137943 h 7083059"/>
              <a:gd name="connsiteX3" fmla="*/ 6555807 w 6555807"/>
              <a:gd name="connsiteY3" fmla="*/ 5945116 h 7083059"/>
              <a:gd name="connsiteX4" fmla="*/ 5417864 w 6555807"/>
              <a:gd name="connsiteY4" fmla="*/ 7083059 h 7083059"/>
              <a:gd name="connsiteX5" fmla="*/ 1717156 w 6555807"/>
              <a:gd name="connsiteY5" fmla="*/ 7083059 h 7083059"/>
              <a:gd name="connsiteX6" fmla="*/ 579213 w 6555807"/>
              <a:gd name="connsiteY6" fmla="*/ 5945116 h 7083059"/>
              <a:gd name="connsiteX7" fmla="*/ 0 w 6555807"/>
              <a:gd name="connsiteY7" fmla="*/ 3119022 h 7083059"/>
              <a:gd name="connsiteX0" fmla="*/ 336585 w 6892392"/>
              <a:gd name="connsiteY0" fmla="*/ 3119022 h 7083059"/>
              <a:gd name="connsiteX1" fmla="*/ 5754449 w 6892392"/>
              <a:gd name="connsiteY1" fmla="*/ 0 h 7083059"/>
              <a:gd name="connsiteX2" fmla="*/ 6892392 w 6892392"/>
              <a:gd name="connsiteY2" fmla="*/ 1137943 h 7083059"/>
              <a:gd name="connsiteX3" fmla="*/ 6892392 w 6892392"/>
              <a:gd name="connsiteY3" fmla="*/ 5945116 h 7083059"/>
              <a:gd name="connsiteX4" fmla="*/ 5754449 w 6892392"/>
              <a:gd name="connsiteY4" fmla="*/ 7083059 h 7083059"/>
              <a:gd name="connsiteX5" fmla="*/ 2053741 w 6892392"/>
              <a:gd name="connsiteY5" fmla="*/ 7083059 h 7083059"/>
              <a:gd name="connsiteX6" fmla="*/ 915798 w 6892392"/>
              <a:gd name="connsiteY6" fmla="*/ 5945116 h 7083059"/>
              <a:gd name="connsiteX7" fmla="*/ 336585 w 6892392"/>
              <a:gd name="connsiteY7" fmla="*/ 3119022 h 7083059"/>
              <a:gd name="connsiteX0" fmla="*/ 459591 w 6398298"/>
              <a:gd name="connsiteY0" fmla="*/ 2059011 h 7083059"/>
              <a:gd name="connsiteX1" fmla="*/ 5260355 w 6398298"/>
              <a:gd name="connsiteY1" fmla="*/ 0 h 7083059"/>
              <a:gd name="connsiteX2" fmla="*/ 6398298 w 6398298"/>
              <a:gd name="connsiteY2" fmla="*/ 1137943 h 7083059"/>
              <a:gd name="connsiteX3" fmla="*/ 6398298 w 6398298"/>
              <a:gd name="connsiteY3" fmla="*/ 5945116 h 7083059"/>
              <a:gd name="connsiteX4" fmla="*/ 5260355 w 6398298"/>
              <a:gd name="connsiteY4" fmla="*/ 7083059 h 7083059"/>
              <a:gd name="connsiteX5" fmla="*/ 1559647 w 6398298"/>
              <a:gd name="connsiteY5" fmla="*/ 7083059 h 7083059"/>
              <a:gd name="connsiteX6" fmla="*/ 421704 w 6398298"/>
              <a:gd name="connsiteY6" fmla="*/ 5945116 h 7083059"/>
              <a:gd name="connsiteX7" fmla="*/ 459591 w 6398298"/>
              <a:gd name="connsiteY7" fmla="*/ 2059011 h 7083059"/>
              <a:gd name="connsiteX0" fmla="*/ 459591 w 6398298"/>
              <a:gd name="connsiteY0" fmla="*/ 2059011 h 7083059"/>
              <a:gd name="connsiteX1" fmla="*/ 5260355 w 6398298"/>
              <a:gd name="connsiteY1" fmla="*/ 0 h 7083059"/>
              <a:gd name="connsiteX2" fmla="*/ 6398298 w 6398298"/>
              <a:gd name="connsiteY2" fmla="*/ 1137943 h 7083059"/>
              <a:gd name="connsiteX3" fmla="*/ 6398298 w 6398298"/>
              <a:gd name="connsiteY3" fmla="*/ 5945116 h 7083059"/>
              <a:gd name="connsiteX4" fmla="*/ 5260355 w 6398298"/>
              <a:gd name="connsiteY4" fmla="*/ 7083059 h 7083059"/>
              <a:gd name="connsiteX5" fmla="*/ 1559647 w 6398298"/>
              <a:gd name="connsiteY5" fmla="*/ 7083059 h 7083059"/>
              <a:gd name="connsiteX6" fmla="*/ 421704 w 6398298"/>
              <a:gd name="connsiteY6" fmla="*/ 5945116 h 7083059"/>
              <a:gd name="connsiteX7" fmla="*/ 459591 w 6398298"/>
              <a:gd name="connsiteY7" fmla="*/ 2059011 h 7083059"/>
              <a:gd name="connsiteX0" fmla="*/ 202294 w 6141001"/>
              <a:gd name="connsiteY0" fmla="*/ 2059011 h 7083059"/>
              <a:gd name="connsiteX1" fmla="*/ 5003058 w 6141001"/>
              <a:gd name="connsiteY1" fmla="*/ 0 h 7083059"/>
              <a:gd name="connsiteX2" fmla="*/ 6141001 w 6141001"/>
              <a:gd name="connsiteY2" fmla="*/ 1137943 h 7083059"/>
              <a:gd name="connsiteX3" fmla="*/ 6141001 w 6141001"/>
              <a:gd name="connsiteY3" fmla="*/ 5945116 h 7083059"/>
              <a:gd name="connsiteX4" fmla="*/ 5003058 w 6141001"/>
              <a:gd name="connsiteY4" fmla="*/ 7083059 h 7083059"/>
              <a:gd name="connsiteX5" fmla="*/ 1302350 w 6141001"/>
              <a:gd name="connsiteY5" fmla="*/ 7083059 h 7083059"/>
              <a:gd name="connsiteX6" fmla="*/ 202294 w 6141001"/>
              <a:gd name="connsiteY6" fmla="*/ 2059011 h 7083059"/>
              <a:gd name="connsiteX0" fmla="*/ 123570 w 6062277"/>
              <a:gd name="connsiteY0" fmla="*/ 2059011 h 7083059"/>
              <a:gd name="connsiteX1" fmla="*/ 4924334 w 6062277"/>
              <a:gd name="connsiteY1" fmla="*/ 0 h 7083059"/>
              <a:gd name="connsiteX2" fmla="*/ 6062277 w 6062277"/>
              <a:gd name="connsiteY2" fmla="*/ 1137943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23570 w 6062277"/>
              <a:gd name="connsiteY0" fmla="*/ 2059011 h 7083059"/>
              <a:gd name="connsiteX1" fmla="*/ 4924334 w 6062277"/>
              <a:gd name="connsiteY1" fmla="*/ 0 h 7083059"/>
              <a:gd name="connsiteX2" fmla="*/ 6060370 w 6062277"/>
              <a:gd name="connsiteY2" fmla="*/ 2919852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23570 w 6062277"/>
              <a:gd name="connsiteY0" fmla="*/ 2059011 h 7083059"/>
              <a:gd name="connsiteX1" fmla="*/ 4924334 w 6062277"/>
              <a:gd name="connsiteY1" fmla="*/ 0 h 7083059"/>
              <a:gd name="connsiteX2" fmla="*/ 6060370 w 6062277"/>
              <a:gd name="connsiteY2" fmla="*/ 2919852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23570 w 6062277"/>
              <a:gd name="connsiteY0" fmla="*/ 2059011 h 7083059"/>
              <a:gd name="connsiteX1" fmla="*/ 4924334 w 6062277"/>
              <a:gd name="connsiteY1" fmla="*/ 0 h 7083059"/>
              <a:gd name="connsiteX2" fmla="*/ 6060370 w 6062277"/>
              <a:gd name="connsiteY2" fmla="*/ 2919852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82803 w 6121510"/>
              <a:gd name="connsiteY0" fmla="*/ 2059011 h 7083059"/>
              <a:gd name="connsiteX1" fmla="*/ 4983567 w 6121510"/>
              <a:gd name="connsiteY1" fmla="*/ 0 h 7083059"/>
              <a:gd name="connsiteX2" fmla="*/ 6119603 w 6121510"/>
              <a:gd name="connsiteY2" fmla="*/ 2919852 h 7083059"/>
              <a:gd name="connsiteX3" fmla="*/ 6121510 w 6121510"/>
              <a:gd name="connsiteY3" fmla="*/ 5945116 h 7083059"/>
              <a:gd name="connsiteX4" fmla="*/ 4983567 w 6121510"/>
              <a:gd name="connsiteY4" fmla="*/ 7083059 h 7083059"/>
              <a:gd name="connsiteX5" fmla="*/ 2217906 w 6121510"/>
              <a:gd name="connsiteY5" fmla="*/ 7078972 h 7083059"/>
              <a:gd name="connsiteX6" fmla="*/ 182803 w 6121510"/>
              <a:gd name="connsiteY6" fmla="*/ 2059011 h 7083059"/>
              <a:gd name="connsiteX0" fmla="*/ 467 w 5939174"/>
              <a:gd name="connsiteY0" fmla="*/ 2059011 h 7083059"/>
              <a:gd name="connsiteX1" fmla="*/ 4801231 w 5939174"/>
              <a:gd name="connsiteY1" fmla="*/ 0 h 7083059"/>
              <a:gd name="connsiteX2" fmla="*/ 5937267 w 5939174"/>
              <a:gd name="connsiteY2" fmla="*/ 2919852 h 7083059"/>
              <a:gd name="connsiteX3" fmla="*/ 5939174 w 5939174"/>
              <a:gd name="connsiteY3" fmla="*/ 5945116 h 7083059"/>
              <a:gd name="connsiteX4" fmla="*/ 4801231 w 5939174"/>
              <a:gd name="connsiteY4" fmla="*/ 7083059 h 7083059"/>
              <a:gd name="connsiteX5" fmla="*/ 2035570 w 5939174"/>
              <a:gd name="connsiteY5" fmla="*/ 7078972 h 7083059"/>
              <a:gd name="connsiteX6" fmla="*/ 467 w 5939174"/>
              <a:gd name="connsiteY6" fmla="*/ 2059011 h 7083059"/>
              <a:gd name="connsiteX0" fmla="*/ 173 w 5938880"/>
              <a:gd name="connsiteY0" fmla="*/ 2059011 h 7083059"/>
              <a:gd name="connsiteX1" fmla="*/ 4800937 w 5938880"/>
              <a:gd name="connsiteY1" fmla="*/ 0 h 7083059"/>
              <a:gd name="connsiteX2" fmla="*/ 5936973 w 5938880"/>
              <a:gd name="connsiteY2" fmla="*/ 2919852 h 7083059"/>
              <a:gd name="connsiteX3" fmla="*/ 5938880 w 5938880"/>
              <a:gd name="connsiteY3" fmla="*/ 5945116 h 7083059"/>
              <a:gd name="connsiteX4" fmla="*/ 4800937 w 5938880"/>
              <a:gd name="connsiteY4" fmla="*/ 7083059 h 7083059"/>
              <a:gd name="connsiteX5" fmla="*/ 2035276 w 5938880"/>
              <a:gd name="connsiteY5" fmla="*/ 7078972 h 7083059"/>
              <a:gd name="connsiteX6" fmla="*/ 173 w 5938880"/>
              <a:gd name="connsiteY6" fmla="*/ 2059011 h 7083059"/>
              <a:gd name="connsiteX0" fmla="*/ 173 w 5938880"/>
              <a:gd name="connsiteY0" fmla="*/ 2078580 h 7102628"/>
              <a:gd name="connsiteX1" fmla="*/ 4800937 w 5938880"/>
              <a:gd name="connsiteY1" fmla="*/ 19569 h 7102628"/>
              <a:gd name="connsiteX2" fmla="*/ 5936973 w 5938880"/>
              <a:gd name="connsiteY2" fmla="*/ 2939421 h 7102628"/>
              <a:gd name="connsiteX3" fmla="*/ 5938880 w 5938880"/>
              <a:gd name="connsiteY3" fmla="*/ 5964685 h 7102628"/>
              <a:gd name="connsiteX4" fmla="*/ 4800937 w 5938880"/>
              <a:gd name="connsiteY4" fmla="*/ 7102628 h 7102628"/>
              <a:gd name="connsiteX5" fmla="*/ 2035276 w 5938880"/>
              <a:gd name="connsiteY5" fmla="*/ 7098541 h 7102628"/>
              <a:gd name="connsiteX6" fmla="*/ 173 w 5938880"/>
              <a:gd name="connsiteY6" fmla="*/ 2078580 h 7102628"/>
              <a:gd name="connsiteX0" fmla="*/ 173 w 5938880"/>
              <a:gd name="connsiteY0" fmla="*/ 2059022 h 7083070"/>
              <a:gd name="connsiteX1" fmla="*/ 4800937 w 5938880"/>
              <a:gd name="connsiteY1" fmla="*/ 11 h 7083070"/>
              <a:gd name="connsiteX2" fmla="*/ 5936973 w 5938880"/>
              <a:gd name="connsiteY2" fmla="*/ 2919863 h 7083070"/>
              <a:gd name="connsiteX3" fmla="*/ 5938880 w 5938880"/>
              <a:gd name="connsiteY3" fmla="*/ 5945127 h 7083070"/>
              <a:gd name="connsiteX4" fmla="*/ 4800937 w 5938880"/>
              <a:gd name="connsiteY4" fmla="*/ 7083070 h 7083070"/>
              <a:gd name="connsiteX5" fmla="*/ 2035276 w 5938880"/>
              <a:gd name="connsiteY5" fmla="*/ 7078983 h 7083070"/>
              <a:gd name="connsiteX6" fmla="*/ 173 w 5938880"/>
              <a:gd name="connsiteY6" fmla="*/ 2059022 h 7083070"/>
              <a:gd name="connsiteX0" fmla="*/ 107 w 5938814"/>
              <a:gd name="connsiteY0" fmla="*/ 2059022 h 7083070"/>
              <a:gd name="connsiteX1" fmla="*/ 4800871 w 5938814"/>
              <a:gd name="connsiteY1" fmla="*/ 11 h 7083070"/>
              <a:gd name="connsiteX2" fmla="*/ 5936907 w 5938814"/>
              <a:gd name="connsiteY2" fmla="*/ 2919863 h 7083070"/>
              <a:gd name="connsiteX3" fmla="*/ 5938814 w 5938814"/>
              <a:gd name="connsiteY3" fmla="*/ 5945127 h 7083070"/>
              <a:gd name="connsiteX4" fmla="*/ 4800871 w 5938814"/>
              <a:gd name="connsiteY4" fmla="*/ 7083070 h 7083070"/>
              <a:gd name="connsiteX5" fmla="*/ 2035210 w 5938814"/>
              <a:gd name="connsiteY5" fmla="*/ 7078983 h 7083070"/>
              <a:gd name="connsiteX6" fmla="*/ 107 w 5938814"/>
              <a:gd name="connsiteY6" fmla="*/ 2059022 h 7083070"/>
              <a:gd name="connsiteX0" fmla="*/ 107 w 5938814"/>
              <a:gd name="connsiteY0" fmla="*/ 2059020 h 7083068"/>
              <a:gd name="connsiteX1" fmla="*/ 4800871 w 5938814"/>
              <a:gd name="connsiteY1" fmla="*/ 9 h 7083068"/>
              <a:gd name="connsiteX2" fmla="*/ 5936907 w 5938814"/>
              <a:gd name="connsiteY2" fmla="*/ 2919861 h 7083068"/>
              <a:gd name="connsiteX3" fmla="*/ 5938814 w 5938814"/>
              <a:gd name="connsiteY3" fmla="*/ 5945125 h 7083068"/>
              <a:gd name="connsiteX4" fmla="*/ 4800871 w 5938814"/>
              <a:gd name="connsiteY4" fmla="*/ 7083068 h 7083068"/>
              <a:gd name="connsiteX5" fmla="*/ 2035210 w 5938814"/>
              <a:gd name="connsiteY5" fmla="*/ 7078981 h 7083068"/>
              <a:gd name="connsiteX6" fmla="*/ 107 w 5938814"/>
              <a:gd name="connsiteY6" fmla="*/ 2059020 h 7083068"/>
              <a:gd name="connsiteX0" fmla="*/ 65623 w 6004330"/>
              <a:gd name="connsiteY0" fmla="*/ 1373846 h 6397894"/>
              <a:gd name="connsiteX1" fmla="*/ 5108944 w 6004330"/>
              <a:gd name="connsiteY1" fmla="*/ 11 h 6397894"/>
              <a:gd name="connsiteX2" fmla="*/ 6002423 w 6004330"/>
              <a:gd name="connsiteY2" fmla="*/ 2234687 h 6397894"/>
              <a:gd name="connsiteX3" fmla="*/ 6004330 w 6004330"/>
              <a:gd name="connsiteY3" fmla="*/ 5259951 h 6397894"/>
              <a:gd name="connsiteX4" fmla="*/ 4866387 w 6004330"/>
              <a:gd name="connsiteY4" fmla="*/ 6397894 h 6397894"/>
              <a:gd name="connsiteX5" fmla="*/ 2100726 w 6004330"/>
              <a:gd name="connsiteY5" fmla="*/ 6393807 h 6397894"/>
              <a:gd name="connsiteX6" fmla="*/ 65623 w 6004330"/>
              <a:gd name="connsiteY6" fmla="*/ 1373846 h 6397894"/>
              <a:gd name="connsiteX0" fmla="*/ 55746 w 5994453"/>
              <a:gd name="connsiteY0" fmla="*/ 1934374 h 6958422"/>
              <a:gd name="connsiteX1" fmla="*/ 4826449 w 5994453"/>
              <a:gd name="connsiteY1" fmla="*/ 8 h 6958422"/>
              <a:gd name="connsiteX2" fmla="*/ 5992546 w 5994453"/>
              <a:gd name="connsiteY2" fmla="*/ 2795215 h 6958422"/>
              <a:gd name="connsiteX3" fmla="*/ 5994453 w 5994453"/>
              <a:gd name="connsiteY3" fmla="*/ 5820479 h 6958422"/>
              <a:gd name="connsiteX4" fmla="*/ 4856510 w 5994453"/>
              <a:gd name="connsiteY4" fmla="*/ 6958422 h 6958422"/>
              <a:gd name="connsiteX5" fmla="*/ 2090849 w 5994453"/>
              <a:gd name="connsiteY5" fmla="*/ 6954335 h 6958422"/>
              <a:gd name="connsiteX6" fmla="*/ 55746 w 5994453"/>
              <a:gd name="connsiteY6" fmla="*/ 1934374 h 6958422"/>
              <a:gd name="connsiteX0" fmla="*/ 55932 w 5985338"/>
              <a:gd name="connsiteY0" fmla="*/ 1994357 h 6971246"/>
              <a:gd name="connsiteX1" fmla="*/ 4817334 w 5985338"/>
              <a:gd name="connsiteY1" fmla="*/ 12832 h 6971246"/>
              <a:gd name="connsiteX2" fmla="*/ 5983431 w 5985338"/>
              <a:gd name="connsiteY2" fmla="*/ 2808039 h 6971246"/>
              <a:gd name="connsiteX3" fmla="*/ 5985338 w 5985338"/>
              <a:gd name="connsiteY3" fmla="*/ 5833303 h 6971246"/>
              <a:gd name="connsiteX4" fmla="*/ 4847395 w 5985338"/>
              <a:gd name="connsiteY4" fmla="*/ 6971246 h 6971246"/>
              <a:gd name="connsiteX5" fmla="*/ 2081734 w 5985338"/>
              <a:gd name="connsiteY5" fmla="*/ 6967159 h 6971246"/>
              <a:gd name="connsiteX6" fmla="*/ 55932 w 5985338"/>
              <a:gd name="connsiteY6" fmla="*/ 1994357 h 6971246"/>
              <a:gd name="connsiteX0" fmla="*/ 0 w 5929406"/>
              <a:gd name="connsiteY0" fmla="*/ 1994357 h 6971246"/>
              <a:gd name="connsiteX1" fmla="*/ 4761402 w 5929406"/>
              <a:gd name="connsiteY1" fmla="*/ 12832 h 6971246"/>
              <a:gd name="connsiteX2" fmla="*/ 5927499 w 5929406"/>
              <a:gd name="connsiteY2" fmla="*/ 2808039 h 6971246"/>
              <a:gd name="connsiteX3" fmla="*/ 5929406 w 5929406"/>
              <a:gd name="connsiteY3" fmla="*/ 5833303 h 6971246"/>
              <a:gd name="connsiteX4" fmla="*/ 4791463 w 5929406"/>
              <a:gd name="connsiteY4" fmla="*/ 6971246 h 6971246"/>
              <a:gd name="connsiteX5" fmla="*/ 2025802 w 5929406"/>
              <a:gd name="connsiteY5" fmla="*/ 6967159 h 6971246"/>
              <a:gd name="connsiteX6" fmla="*/ 0 w 5929406"/>
              <a:gd name="connsiteY6" fmla="*/ 1994357 h 6971246"/>
              <a:gd name="connsiteX0" fmla="*/ 0 w 5929406"/>
              <a:gd name="connsiteY0" fmla="*/ 1994357 h 6971246"/>
              <a:gd name="connsiteX1" fmla="*/ 4761402 w 5929406"/>
              <a:gd name="connsiteY1" fmla="*/ 12832 h 6971246"/>
              <a:gd name="connsiteX2" fmla="*/ 5927499 w 5929406"/>
              <a:gd name="connsiteY2" fmla="*/ 2808039 h 6971246"/>
              <a:gd name="connsiteX3" fmla="*/ 5929406 w 5929406"/>
              <a:gd name="connsiteY3" fmla="*/ 5833303 h 6971246"/>
              <a:gd name="connsiteX4" fmla="*/ 4791463 w 5929406"/>
              <a:gd name="connsiteY4" fmla="*/ 6971246 h 6971246"/>
              <a:gd name="connsiteX5" fmla="*/ 2025802 w 5929406"/>
              <a:gd name="connsiteY5" fmla="*/ 6967159 h 6971246"/>
              <a:gd name="connsiteX6" fmla="*/ 0 w 5929406"/>
              <a:gd name="connsiteY6" fmla="*/ 1994357 h 6971246"/>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2373481 h 7350370"/>
              <a:gd name="connsiteX1" fmla="*/ 4589452 w 5929406"/>
              <a:gd name="connsiteY1" fmla="*/ 0 h 7350370"/>
              <a:gd name="connsiteX2" fmla="*/ 5927499 w 5929406"/>
              <a:gd name="connsiteY2" fmla="*/ 3187163 h 7350370"/>
              <a:gd name="connsiteX3" fmla="*/ 5929406 w 5929406"/>
              <a:gd name="connsiteY3" fmla="*/ 6212427 h 7350370"/>
              <a:gd name="connsiteX4" fmla="*/ 4791463 w 5929406"/>
              <a:gd name="connsiteY4" fmla="*/ 7350370 h 7350370"/>
              <a:gd name="connsiteX5" fmla="*/ 2025802 w 5929406"/>
              <a:gd name="connsiteY5" fmla="*/ 7346283 h 7350370"/>
              <a:gd name="connsiteX6" fmla="*/ 0 w 5929406"/>
              <a:gd name="connsiteY6" fmla="*/ 2373481 h 7350370"/>
              <a:gd name="connsiteX0" fmla="*/ 0 w 6122234"/>
              <a:gd name="connsiteY0" fmla="*/ 1931042 h 7350370"/>
              <a:gd name="connsiteX1" fmla="*/ 4782280 w 6122234"/>
              <a:gd name="connsiteY1" fmla="*/ 0 h 7350370"/>
              <a:gd name="connsiteX2" fmla="*/ 6120327 w 6122234"/>
              <a:gd name="connsiteY2" fmla="*/ 3187163 h 7350370"/>
              <a:gd name="connsiteX3" fmla="*/ 6122234 w 6122234"/>
              <a:gd name="connsiteY3" fmla="*/ 6212427 h 7350370"/>
              <a:gd name="connsiteX4" fmla="*/ 4984291 w 6122234"/>
              <a:gd name="connsiteY4" fmla="*/ 7350370 h 7350370"/>
              <a:gd name="connsiteX5" fmla="*/ 2218630 w 6122234"/>
              <a:gd name="connsiteY5" fmla="*/ 7346283 h 7350370"/>
              <a:gd name="connsiteX6" fmla="*/ 0 w 6122234"/>
              <a:gd name="connsiteY6" fmla="*/ 1931042 h 7350370"/>
              <a:gd name="connsiteX0" fmla="*/ 0 w 6122234"/>
              <a:gd name="connsiteY0" fmla="*/ 1931042 h 7350370"/>
              <a:gd name="connsiteX1" fmla="*/ 4782280 w 6122234"/>
              <a:gd name="connsiteY1" fmla="*/ 0 h 7350370"/>
              <a:gd name="connsiteX2" fmla="*/ 6120327 w 6122234"/>
              <a:gd name="connsiteY2" fmla="*/ 3187163 h 7350370"/>
              <a:gd name="connsiteX3" fmla="*/ 6122234 w 6122234"/>
              <a:gd name="connsiteY3" fmla="*/ 6212427 h 7350370"/>
              <a:gd name="connsiteX4" fmla="*/ 4984291 w 6122234"/>
              <a:gd name="connsiteY4" fmla="*/ 7350370 h 7350370"/>
              <a:gd name="connsiteX5" fmla="*/ 2296377 w 6122234"/>
              <a:gd name="connsiteY5" fmla="*/ 7343687 h 7350370"/>
              <a:gd name="connsiteX6" fmla="*/ 0 w 6122234"/>
              <a:gd name="connsiteY6" fmla="*/ 1931042 h 7350370"/>
              <a:gd name="connsiteX0" fmla="*/ 0 w 6059860"/>
              <a:gd name="connsiteY0" fmla="*/ 1915098 h 7350370"/>
              <a:gd name="connsiteX1" fmla="*/ 4719906 w 6059860"/>
              <a:gd name="connsiteY1" fmla="*/ 0 h 7350370"/>
              <a:gd name="connsiteX2" fmla="*/ 6057953 w 6059860"/>
              <a:gd name="connsiteY2" fmla="*/ 3187163 h 7350370"/>
              <a:gd name="connsiteX3" fmla="*/ 6059860 w 6059860"/>
              <a:gd name="connsiteY3" fmla="*/ 6212427 h 7350370"/>
              <a:gd name="connsiteX4" fmla="*/ 4921917 w 6059860"/>
              <a:gd name="connsiteY4" fmla="*/ 7350370 h 7350370"/>
              <a:gd name="connsiteX5" fmla="*/ 2234003 w 6059860"/>
              <a:gd name="connsiteY5" fmla="*/ 7343687 h 7350370"/>
              <a:gd name="connsiteX6" fmla="*/ 0 w 6059860"/>
              <a:gd name="connsiteY6" fmla="*/ 1915098 h 7350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59860" h="7350370">
                <a:moveTo>
                  <a:pt x="0" y="1915098"/>
                </a:moveTo>
                <a:lnTo>
                  <a:pt x="4719906" y="0"/>
                </a:lnTo>
                <a:cubicBezTo>
                  <a:pt x="5129161" y="956391"/>
                  <a:pt x="6056273" y="3192676"/>
                  <a:pt x="6057953" y="3187163"/>
                </a:cubicBezTo>
                <a:cubicBezTo>
                  <a:pt x="6058589" y="4195584"/>
                  <a:pt x="6059224" y="5204006"/>
                  <a:pt x="6059860" y="6212427"/>
                </a:cubicBezTo>
                <a:cubicBezTo>
                  <a:pt x="6059860" y="6840896"/>
                  <a:pt x="5550386" y="7350370"/>
                  <a:pt x="4921917" y="7350370"/>
                </a:cubicBezTo>
                <a:lnTo>
                  <a:pt x="2234003" y="7343687"/>
                </a:lnTo>
                <a:cubicBezTo>
                  <a:pt x="2233572" y="7323456"/>
                  <a:pt x="1012901" y="4401499"/>
                  <a:pt x="0" y="191509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solidFill>
                <a:schemeClr val="tx1"/>
              </a:solidFill>
              <a:latin typeface="TT Commons Pro" panose="020B0103030102020204" pitchFamily="34" charset="77"/>
            </a:endParaRPr>
          </a:p>
        </p:txBody>
      </p:sp>
      <p:sp>
        <p:nvSpPr>
          <p:cNvPr id="8" name="Title 1">
            <a:extLst>
              <a:ext uri="{FF2B5EF4-FFF2-40B4-BE49-F238E27FC236}">
                <a16:creationId xmlns:a16="http://schemas.microsoft.com/office/drawing/2014/main" id="{7C90ECE9-DF03-CA40-9C15-B895943AB15D}"/>
              </a:ext>
            </a:extLst>
          </p:cNvPr>
          <p:cNvSpPr>
            <a:spLocks noGrp="1"/>
          </p:cNvSpPr>
          <p:nvPr>
            <p:ph type="title"/>
          </p:nvPr>
        </p:nvSpPr>
        <p:spPr>
          <a:xfrm>
            <a:off x="406400" y="1643055"/>
            <a:ext cx="8331200" cy="2385483"/>
          </a:xfrm>
        </p:spPr>
        <p:txBody>
          <a:bodyPr vert="horz" anchor="b">
            <a:normAutofit/>
          </a:bodyPr>
          <a:lstStyle>
            <a:lvl1pPr>
              <a:defRPr sz="7200" b="0" i="0">
                <a:solidFill>
                  <a:schemeClr val="accent1"/>
                </a:solidFill>
                <a:latin typeface="TT Commons Pro" panose="020B0103030102020204" pitchFamily="34" charset="77"/>
              </a:defRPr>
            </a:lvl1pPr>
          </a:lstStyle>
          <a:p>
            <a:r>
              <a:rPr lang="en-US"/>
              <a:t>Click to edit Master title style</a:t>
            </a:r>
          </a:p>
        </p:txBody>
      </p:sp>
    </p:spTree>
    <p:extLst>
      <p:ext uri="{BB962C8B-B14F-4D97-AF65-F5344CB8AC3E}">
        <p14:creationId xmlns:p14="http://schemas.microsoft.com/office/powerpoint/2010/main" val="41106762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reserve="1">
  <p:cSld name="On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3DB5-0065-E249-9ECB-81CD3A78C593}"/>
              </a:ext>
            </a:extLst>
          </p:cNvPr>
          <p:cNvSpPr>
            <a:spLocks noGrp="1"/>
          </p:cNvSpPr>
          <p:nvPr>
            <p:ph type="title"/>
          </p:nvPr>
        </p:nvSpPr>
        <p:spPr>
          <a:xfrm>
            <a:off x="406400" y="381000"/>
            <a:ext cx="11328400" cy="723883"/>
          </a:xfrm>
        </p:spPr>
        <p:txBody>
          <a:bodyPr/>
          <a:lstStyle>
            <a:lvl1pPr>
              <a:defRPr sz="4800" b="0" i="0">
                <a:latin typeface="TT Commons Pro" panose="020B0103030102020204" pitchFamily="34"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94EB02E4-834D-C442-97F7-D6EC00FBAFCA}"/>
              </a:ext>
            </a:extLst>
          </p:cNvPr>
          <p:cNvSpPr>
            <a:spLocks noGrp="1"/>
          </p:cNvSpPr>
          <p:nvPr>
            <p:ph idx="1"/>
          </p:nvPr>
        </p:nvSpPr>
        <p:spPr/>
        <p:txBody>
          <a:bodyPr/>
          <a:lstStyle>
            <a:lvl1pPr>
              <a:defRPr b="0" i="0">
                <a:latin typeface="TT Commons Pro" panose="020B0103030102020204" pitchFamily="34" charset="77"/>
              </a:defRPr>
            </a:lvl1pPr>
            <a:lvl2pPr>
              <a:defRPr b="0" i="0">
                <a:latin typeface="TT Commons Pro" panose="020B0103030102020204" pitchFamily="34" charset="77"/>
              </a:defRPr>
            </a:lvl2pPr>
            <a:lvl3pPr>
              <a:defRPr b="0" i="0">
                <a:latin typeface="TT Commons Pro" panose="020B0103030102020204" pitchFamily="34" charset="77"/>
              </a:defRPr>
            </a:lvl3pPr>
            <a:lvl4pPr>
              <a:defRPr b="0" i="0">
                <a:latin typeface="TT Commons Pro" panose="020B0103030102020204" pitchFamily="34" charset="77"/>
              </a:defRPr>
            </a:lvl4pPr>
            <a:lvl5pPr>
              <a:defRPr b="0" i="0">
                <a:latin typeface="TT Commons Pro" panose="020B01030301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A40F5E07-CACF-6147-BB2C-ACA646165CB5}"/>
              </a:ext>
            </a:extLst>
          </p:cNvPr>
          <p:cNvSpPr>
            <a:spLocks noGrp="1"/>
          </p:cNvSpPr>
          <p:nvPr>
            <p:ph type="sldNum" sz="quarter" idx="11"/>
          </p:nvPr>
        </p:nvSpPr>
        <p:spPr>
          <a:xfrm>
            <a:off x="406400" y="6293909"/>
            <a:ext cx="2743200" cy="366183"/>
          </a:xfrm>
        </p:spPr>
        <p:txBody>
          <a:bodyPr/>
          <a:lstStyle/>
          <a:p>
            <a:fld id="{8F301CD7-22C3-7A42-9674-1AB8A6429604}" type="slidenum">
              <a:rPr lang="en-US" smtClean="0"/>
              <a:pPr/>
              <a:t>‹#›</a:t>
            </a:fld>
            <a:endParaRPr lang="en-US"/>
          </a:p>
        </p:txBody>
      </p:sp>
    </p:spTree>
    <p:extLst>
      <p:ext uri="{BB962C8B-B14F-4D97-AF65-F5344CB8AC3E}">
        <p14:creationId xmlns:p14="http://schemas.microsoft.com/office/powerpoint/2010/main" val="22267987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Header-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9842573" y="0"/>
            <a:ext cx="2349427" cy="6858000"/>
          </a:xfrm>
          <a:prstGeom prst="rect">
            <a:avLst/>
          </a:prstGeom>
          <a:solidFill>
            <a:srgbClr val="FAEA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r>
              <a:rPr lang="en-GB"/>
              <a:t>Click to add picture or icon</a:t>
            </a:r>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3"/>
                </a:solidFill>
              </a:defRPr>
            </a:lvl1pPr>
          </a:lstStyle>
          <a:p>
            <a:pPr lvl="0"/>
            <a:r>
              <a:rPr lang="en-US"/>
              <a:t>Tagline</a:t>
            </a:r>
          </a:p>
        </p:txBody>
      </p:sp>
      <p:sp>
        <p:nvSpPr>
          <p:cNvPr id="4" name="Picture Placeholder 9">
            <a:extLst>
              <a:ext uri="{FF2B5EF4-FFF2-40B4-BE49-F238E27FC236}">
                <a16:creationId xmlns:a16="http://schemas.microsoft.com/office/drawing/2014/main" id="{ADDC55DA-97F2-63EE-02EF-D4C44F0A819A}"/>
              </a:ext>
            </a:extLst>
          </p:cNvPr>
          <p:cNvSpPr>
            <a:spLocks noGrp="1"/>
          </p:cNvSpPr>
          <p:nvPr>
            <p:ph type="pic" sz="quarter" idx="13" hasCustomPrompt="1"/>
          </p:nvPr>
        </p:nvSpPr>
        <p:spPr>
          <a:xfrm>
            <a:off x="6409492" y="420393"/>
            <a:ext cx="5356397" cy="5355717"/>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Tree>
    <p:extLst>
      <p:ext uri="{BB962C8B-B14F-4D97-AF65-F5344CB8AC3E}">
        <p14:creationId xmlns:p14="http://schemas.microsoft.com/office/powerpoint/2010/main" val="27893573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Photo Right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64FE4B9-B509-3683-9B10-EF8960006F56}"/>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564FE4B9-B509-3683-9B10-EF8960006F56}"/>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Tree>
    <p:extLst>
      <p:ext uri="{BB962C8B-B14F-4D97-AF65-F5344CB8AC3E}">
        <p14:creationId xmlns:p14="http://schemas.microsoft.com/office/powerpoint/2010/main" val="2435746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Left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50559-CF33-6740-821B-F70F8315C406}"/>
              </a:ext>
            </a:extLst>
          </p:cNvPr>
          <p:cNvSpPr>
            <a:spLocks noGrp="1"/>
          </p:cNvSpPr>
          <p:nvPr>
            <p:ph type="title"/>
          </p:nvPr>
        </p:nvSpPr>
        <p:spPr>
          <a:xfrm>
            <a:off x="6108699" y="381000"/>
            <a:ext cx="5626100" cy="1422400"/>
          </a:xfrm>
        </p:spPr>
        <p:txBody>
          <a:bodyPr anchor="t"/>
          <a:lstStyle>
            <a:lvl1pPr>
              <a:defRPr sz="4800"/>
            </a:lvl1pPr>
          </a:lstStyle>
          <a:p>
            <a:r>
              <a:rPr lang="en-US"/>
              <a:t>Click to edit Master title style</a:t>
            </a:r>
          </a:p>
        </p:txBody>
      </p:sp>
      <p:sp>
        <p:nvSpPr>
          <p:cNvPr id="3" name="Content Placeholder 2">
            <a:extLst>
              <a:ext uri="{FF2B5EF4-FFF2-40B4-BE49-F238E27FC236}">
                <a16:creationId xmlns:a16="http://schemas.microsoft.com/office/drawing/2014/main" id="{2E2DEC81-0CE5-4848-8978-D80FA8C72AE2}"/>
              </a:ext>
            </a:extLst>
          </p:cNvPr>
          <p:cNvSpPr>
            <a:spLocks noGrp="1"/>
          </p:cNvSpPr>
          <p:nvPr>
            <p:ph sz="half" idx="1"/>
          </p:nvPr>
        </p:nvSpPr>
        <p:spPr>
          <a:xfrm>
            <a:off x="6095999" y="2009104"/>
            <a:ext cx="5626100" cy="40868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5ACC3753-38A1-AC42-B480-A2BBDB21E48A}"/>
              </a:ext>
            </a:extLst>
          </p:cNvPr>
          <p:cNvSpPr>
            <a:spLocks noGrp="1"/>
          </p:cNvSpPr>
          <p:nvPr>
            <p:ph type="sldNum" sz="quarter" idx="12"/>
          </p:nvPr>
        </p:nvSpPr>
        <p:spPr>
          <a:xfrm>
            <a:off x="812800" y="6354027"/>
            <a:ext cx="2743200" cy="366183"/>
          </a:xfrm>
        </p:spPr>
        <p:txBody>
          <a:bodyPr/>
          <a:lstStyle/>
          <a:p>
            <a:fld id="{8F301CD7-22C3-7A42-9674-1AB8A6429604}" type="slidenum">
              <a:rPr lang="en-US" smtClean="0"/>
              <a:t>‹#›</a:t>
            </a:fld>
            <a:endParaRPr lang="en-US"/>
          </a:p>
        </p:txBody>
      </p:sp>
      <p:sp>
        <p:nvSpPr>
          <p:cNvPr id="14" name="Picture Placeholder 9">
            <a:extLst>
              <a:ext uri="{FF2B5EF4-FFF2-40B4-BE49-F238E27FC236}">
                <a16:creationId xmlns:a16="http://schemas.microsoft.com/office/drawing/2014/main" id="{3F385E1D-65FE-EF44-BC88-8A72079737AB}"/>
              </a:ext>
            </a:extLst>
          </p:cNvPr>
          <p:cNvSpPr>
            <a:spLocks noGrp="1"/>
          </p:cNvSpPr>
          <p:nvPr>
            <p:ph type="pic" sz="quarter" idx="13"/>
          </p:nvPr>
        </p:nvSpPr>
        <p:spPr>
          <a:xfrm>
            <a:off x="-179294" y="-117796"/>
            <a:ext cx="6086771" cy="7093591"/>
          </a:xfrm>
          <a:custGeom>
            <a:avLst/>
            <a:gdLst>
              <a:gd name="connsiteX0" fmla="*/ 0 w 6223000"/>
              <a:gd name="connsiteY0" fmla="*/ 1172147 h 5317066"/>
              <a:gd name="connsiteX1" fmla="*/ 1172147 w 6223000"/>
              <a:gd name="connsiteY1" fmla="*/ 0 h 5317066"/>
              <a:gd name="connsiteX2" fmla="*/ 5050853 w 6223000"/>
              <a:gd name="connsiteY2" fmla="*/ 0 h 5317066"/>
              <a:gd name="connsiteX3" fmla="*/ 6223000 w 6223000"/>
              <a:gd name="connsiteY3" fmla="*/ 1172147 h 5317066"/>
              <a:gd name="connsiteX4" fmla="*/ 6223000 w 6223000"/>
              <a:gd name="connsiteY4" fmla="*/ 4144919 h 5317066"/>
              <a:gd name="connsiteX5" fmla="*/ 5050853 w 6223000"/>
              <a:gd name="connsiteY5" fmla="*/ 5317066 h 5317066"/>
              <a:gd name="connsiteX6" fmla="*/ 1172147 w 6223000"/>
              <a:gd name="connsiteY6" fmla="*/ 5317066 h 5317066"/>
              <a:gd name="connsiteX7" fmla="*/ 0 w 6223000"/>
              <a:gd name="connsiteY7" fmla="*/ 4144919 h 5317066"/>
              <a:gd name="connsiteX8" fmla="*/ 0 w 6223000"/>
              <a:gd name="connsiteY8" fmla="*/ 1172147 h 5317066"/>
              <a:gd name="connsiteX0" fmla="*/ 0 w 7086600"/>
              <a:gd name="connsiteY0" fmla="*/ 1172147 h 5317066"/>
              <a:gd name="connsiteX1" fmla="*/ 1172147 w 7086600"/>
              <a:gd name="connsiteY1" fmla="*/ 0 h 5317066"/>
              <a:gd name="connsiteX2" fmla="*/ 5050853 w 7086600"/>
              <a:gd name="connsiteY2" fmla="*/ 0 h 5317066"/>
              <a:gd name="connsiteX3" fmla="*/ 7086600 w 7086600"/>
              <a:gd name="connsiteY3" fmla="*/ 2848547 h 5317066"/>
              <a:gd name="connsiteX4" fmla="*/ 6223000 w 7086600"/>
              <a:gd name="connsiteY4" fmla="*/ 4144919 h 5317066"/>
              <a:gd name="connsiteX5" fmla="*/ 5050853 w 7086600"/>
              <a:gd name="connsiteY5" fmla="*/ 5317066 h 5317066"/>
              <a:gd name="connsiteX6" fmla="*/ 1172147 w 7086600"/>
              <a:gd name="connsiteY6" fmla="*/ 5317066 h 5317066"/>
              <a:gd name="connsiteX7" fmla="*/ 0 w 7086600"/>
              <a:gd name="connsiteY7" fmla="*/ 4144919 h 5317066"/>
              <a:gd name="connsiteX8" fmla="*/ 0 w 7086600"/>
              <a:gd name="connsiteY8" fmla="*/ 1172147 h 5317066"/>
              <a:gd name="connsiteX0" fmla="*/ 0 w 7086600"/>
              <a:gd name="connsiteY0" fmla="*/ 1172147 h 5317066"/>
              <a:gd name="connsiteX1" fmla="*/ 1172147 w 7086600"/>
              <a:gd name="connsiteY1" fmla="*/ 0 h 5317066"/>
              <a:gd name="connsiteX2" fmla="*/ 6329320 w 7086600"/>
              <a:gd name="connsiteY2" fmla="*/ 1159933 h 5317066"/>
              <a:gd name="connsiteX3" fmla="*/ 7086600 w 7086600"/>
              <a:gd name="connsiteY3" fmla="*/ 2848547 h 5317066"/>
              <a:gd name="connsiteX4" fmla="*/ 6223000 w 7086600"/>
              <a:gd name="connsiteY4" fmla="*/ 4144919 h 5317066"/>
              <a:gd name="connsiteX5" fmla="*/ 5050853 w 7086600"/>
              <a:gd name="connsiteY5" fmla="*/ 5317066 h 5317066"/>
              <a:gd name="connsiteX6" fmla="*/ 1172147 w 7086600"/>
              <a:gd name="connsiteY6" fmla="*/ 5317066 h 5317066"/>
              <a:gd name="connsiteX7" fmla="*/ 0 w 7086600"/>
              <a:gd name="connsiteY7" fmla="*/ 4144919 h 5317066"/>
              <a:gd name="connsiteX8" fmla="*/ 0 w 7086600"/>
              <a:gd name="connsiteY8" fmla="*/ 1172147 h 5317066"/>
              <a:gd name="connsiteX0" fmla="*/ 0 w 7086600"/>
              <a:gd name="connsiteY0" fmla="*/ 1172147 h 5571152"/>
              <a:gd name="connsiteX1" fmla="*/ 1172147 w 7086600"/>
              <a:gd name="connsiteY1" fmla="*/ 0 h 5571152"/>
              <a:gd name="connsiteX2" fmla="*/ 6329320 w 7086600"/>
              <a:gd name="connsiteY2" fmla="*/ 1159933 h 5571152"/>
              <a:gd name="connsiteX3" fmla="*/ 7086600 w 7086600"/>
              <a:gd name="connsiteY3" fmla="*/ 2848547 h 5571152"/>
              <a:gd name="connsiteX4" fmla="*/ 6070600 w 7086600"/>
              <a:gd name="connsiteY4" fmla="*/ 5270985 h 5571152"/>
              <a:gd name="connsiteX5" fmla="*/ 5050853 w 7086600"/>
              <a:gd name="connsiteY5" fmla="*/ 5317066 h 5571152"/>
              <a:gd name="connsiteX6" fmla="*/ 1172147 w 7086600"/>
              <a:gd name="connsiteY6" fmla="*/ 5317066 h 5571152"/>
              <a:gd name="connsiteX7" fmla="*/ 0 w 7086600"/>
              <a:gd name="connsiteY7" fmla="*/ 4144919 h 5571152"/>
              <a:gd name="connsiteX8" fmla="*/ 0 w 7086600"/>
              <a:gd name="connsiteY8" fmla="*/ 1172147 h 5571152"/>
              <a:gd name="connsiteX0" fmla="*/ 0 w 7086600"/>
              <a:gd name="connsiteY0" fmla="*/ 1172147 h 5571152"/>
              <a:gd name="connsiteX1" fmla="*/ 1172147 w 7086600"/>
              <a:gd name="connsiteY1" fmla="*/ 0 h 5571152"/>
              <a:gd name="connsiteX2" fmla="*/ 6329320 w 7086600"/>
              <a:gd name="connsiteY2" fmla="*/ 1159933 h 5571152"/>
              <a:gd name="connsiteX3" fmla="*/ 7086600 w 7086600"/>
              <a:gd name="connsiteY3" fmla="*/ 2848547 h 5571152"/>
              <a:gd name="connsiteX4" fmla="*/ 6070600 w 7086600"/>
              <a:gd name="connsiteY4" fmla="*/ 5270985 h 5571152"/>
              <a:gd name="connsiteX5" fmla="*/ 5050853 w 7086600"/>
              <a:gd name="connsiteY5" fmla="*/ 5317066 h 5571152"/>
              <a:gd name="connsiteX6" fmla="*/ 1172147 w 7086600"/>
              <a:gd name="connsiteY6" fmla="*/ 5317066 h 5571152"/>
              <a:gd name="connsiteX7" fmla="*/ 0 w 7086600"/>
              <a:gd name="connsiteY7" fmla="*/ 4144919 h 5571152"/>
              <a:gd name="connsiteX8" fmla="*/ 0 w 7086600"/>
              <a:gd name="connsiteY8" fmla="*/ 1172147 h 5571152"/>
              <a:gd name="connsiteX0" fmla="*/ 0 w 7086600"/>
              <a:gd name="connsiteY0" fmla="*/ 1172147 h 5571152"/>
              <a:gd name="connsiteX1" fmla="*/ 1172147 w 7086600"/>
              <a:gd name="connsiteY1" fmla="*/ 0 h 5571152"/>
              <a:gd name="connsiteX2" fmla="*/ 6329320 w 7086600"/>
              <a:gd name="connsiteY2" fmla="*/ 1159933 h 5571152"/>
              <a:gd name="connsiteX3" fmla="*/ 7086600 w 7086600"/>
              <a:gd name="connsiteY3" fmla="*/ 2848547 h 5571152"/>
              <a:gd name="connsiteX4" fmla="*/ 6070600 w 7086600"/>
              <a:gd name="connsiteY4" fmla="*/ 5270985 h 5571152"/>
              <a:gd name="connsiteX5" fmla="*/ 5050853 w 7086600"/>
              <a:gd name="connsiteY5" fmla="*/ 5317066 h 5571152"/>
              <a:gd name="connsiteX6" fmla="*/ 1172147 w 7086600"/>
              <a:gd name="connsiteY6" fmla="*/ 5317066 h 5571152"/>
              <a:gd name="connsiteX7" fmla="*/ 0 w 7086600"/>
              <a:gd name="connsiteY7" fmla="*/ 4144919 h 5571152"/>
              <a:gd name="connsiteX8" fmla="*/ 0 w 7086600"/>
              <a:gd name="connsiteY8" fmla="*/ 1172147 h 5571152"/>
              <a:gd name="connsiteX0" fmla="*/ 0 w 7086600"/>
              <a:gd name="connsiteY0" fmla="*/ 1172147 h 5521307"/>
              <a:gd name="connsiteX1" fmla="*/ 1172147 w 7086600"/>
              <a:gd name="connsiteY1" fmla="*/ 0 h 5521307"/>
              <a:gd name="connsiteX2" fmla="*/ 6329320 w 7086600"/>
              <a:gd name="connsiteY2" fmla="*/ 1159933 h 5521307"/>
              <a:gd name="connsiteX3" fmla="*/ 7086600 w 7086600"/>
              <a:gd name="connsiteY3" fmla="*/ 2848547 h 5521307"/>
              <a:gd name="connsiteX4" fmla="*/ 6070600 w 7086600"/>
              <a:gd name="connsiteY4" fmla="*/ 5270985 h 5521307"/>
              <a:gd name="connsiteX5" fmla="*/ 1172147 w 7086600"/>
              <a:gd name="connsiteY5" fmla="*/ 5317066 h 5521307"/>
              <a:gd name="connsiteX6" fmla="*/ 0 w 7086600"/>
              <a:gd name="connsiteY6" fmla="*/ 4144919 h 5521307"/>
              <a:gd name="connsiteX7" fmla="*/ 0 w 7086600"/>
              <a:gd name="connsiteY7" fmla="*/ 1172147 h 5521307"/>
              <a:gd name="connsiteX0" fmla="*/ 0 w 7086600"/>
              <a:gd name="connsiteY0" fmla="*/ 1172147 h 5312761"/>
              <a:gd name="connsiteX1" fmla="*/ 1172147 w 7086600"/>
              <a:gd name="connsiteY1" fmla="*/ 0 h 5312761"/>
              <a:gd name="connsiteX2" fmla="*/ 6329320 w 7086600"/>
              <a:gd name="connsiteY2" fmla="*/ 1159933 h 5312761"/>
              <a:gd name="connsiteX3" fmla="*/ 7086600 w 7086600"/>
              <a:gd name="connsiteY3" fmla="*/ 2848547 h 5312761"/>
              <a:gd name="connsiteX4" fmla="*/ 6070600 w 7086600"/>
              <a:gd name="connsiteY4" fmla="*/ 5270985 h 5312761"/>
              <a:gd name="connsiteX5" fmla="*/ 0 w 7086600"/>
              <a:gd name="connsiteY5" fmla="*/ 4144919 h 5312761"/>
              <a:gd name="connsiteX6" fmla="*/ 0 w 7086600"/>
              <a:gd name="connsiteY6" fmla="*/ 1172147 h 5312761"/>
              <a:gd name="connsiteX0" fmla="*/ 0 w 7086600"/>
              <a:gd name="connsiteY0" fmla="*/ 1180614 h 5321228"/>
              <a:gd name="connsiteX1" fmla="*/ 3568214 w 7086600"/>
              <a:gd name="connsiteY1" fmla="*/ 0 h 5321228"/>
              <a:gd name="connsiteX2" fmla="*/ 6329320 w 7086600"/>
              <a:gd name="connsiteY2" fmla="*/ 1168400 h 5321228"/>
              <a:gd name="connsiteX3" fmla="*/ 7086600 w 7086600"/>
              <a:gd name="connsiteY3" fmla="*/ 2857014 h 5321228"/>
              <a:gd name="connsiteX4" fmla="*/ 6070600 w 7086600"/>
              <a:gd name="connsiteY4" fmla="*/ 5279452 h 5321228"/>
              <a:gd name="connsiteX5" fmla="*/ 0 w 7086600"/>
              <a:gd name="connsiteY5" fmla="*/ 4153386 h 5321228"/>
              <a:gd name="connsiteX6" fmla="*/ 0 w 7086600"/>
              <a:gd name="connsiteY6" fmla="*/ 1180614 h 5321228"/>
              <a:gd name="connsiteX0" fmla="*/ 0 w 7086600"/>
              <a:gd name="connsiteY0" fmla="*/ 1180614 h 5321228"/>
              <a:gd name="connsiteX1" fmla="*/ 3568214 w 7086600"/>
              <a:gd name="connsiteY1" fmla="*/ 0 h 5321228"/>
              <a:gd name="connsiteX2" fmla="*/ 6329320 w 7086600"/>
              <a:gd name="connsiteY2" fmla="*/ 1168400 h 5321228"/>
              <a:gd name="connsiteX3" fmla="*/ 7086600 w 7086600"/>
              <a:gd name="connsiteY3" fmla="*/ 2857014 h 5321228"/>
              <a:gd name="connsiteX4" fmla="*/ 6070600 w 7086600"/>
              <a:gd name="connsiteY4" fmla="*/ 5279452 h 5321228"/>
              <a:gd name="connsiteX5" fmla="*/ 0 w 7086600"/>
              <a:gd name="connsiteY5" fmla="*/ 4153386 h 5321228"/>
              <a:gd name="connsiteX6" fmla="*/ 0 w 7086600"/>
              <a:gd name="connsiteY6" fmla="*/ 1180614 h 5321228"/>
              <a:gd name="connsiteX0" fmla="*/ 16933 w 7086600"/>
              <a:gd name="connsiteY0" fmla="*/ 300167 h 5575314"/>
              <a:gd name="connsiteX1" fmla="*/ 3568214 w 7086600"/>
              <a:gd name="connsiteY1" fmla="*/ 254086 h 5575314"/>
              <a:gd name="connsiteX2" fmla="*/ 6329320 w 7086600"/>
              <a:gd name="connsiteY2" fmla="*/ 1422486 h 5575314"/>
              <a:gd name="connsiteX3" fmla="*/ 7086600 w 7086600"/>
              <a:gd name="connsiteY3" fmla="*/ 3111100 h 5575314"/>
              <a:gd name="connsiteX4" fmla="*/ 6070600 w 7086600"/>
              <a:gd name="connsiteY4" fmla="*/ 5533538 h 5575314"/>
              <a:gd name="connsiteX5" fmla="*/ 0 w 7086600"/>
              <a:gd name="connsiteY5" fmla="*/ 4407472 h 5575314"/>
              <a:gd name="connsiteX6" fmla="*/ 16933 w 7086600"/>
              <a:gd name="connsiteY6" fmla="*/ 300167 h 5575314"/>
              <a:gd name="connsiteX0" fmla="*/ 16933 w 7086600"/>
              <a:gd name="connsiteY0" fmla="*/ 46081 h 5321228"/>
              <a:gd name="connsiteX1" fmla="*/ 3568214 w 7086600"/>
              <a:gd name="connsiteY1" fmla="*/ 0 h 5321228"/>
              <a:gd name="connsiteX2" fmla="*/ 6329320 w 7086600"/>
              <a:gd name="connsiteY2" fmla="*/ 1168400 h 5321228"/>
              <a:gd name="connsiteX3" fmla="*/ 7086600 w 7086600"/>
              <a:gd name="connsiteY3" fmla="*/ 2857014 h 5321228"/>
              <a:gd name="connsiteX4" fmla="*/ 6070600 w 7086600"/>
              <a:gd name="connsiteY4" fmla="*/ 5279452 h 5321228"/>
              <a:gd name="connsiteX5" fmla="*/ 0 w 7086600"/>
              <a:gd name="connsiteY5" fmla="*/ 4153386 h 5321228"/>
              <a:gd name="connsiteX6" fmla="*/ 16933 w 7086600"/>
              <a:gd name="connsiteY6" fmla="*/ 46081 h 5321228"/>
              <a:gd name="connsiteX0" fmla="*/ 25399 w 7095066"/>
              <a:gd name="connsiteY0" fmla="*/ 46081 h 5654031"/>
              <a:gd name="connsiteX1" fmla="*/ 3576680 w 7095066"/>
              <a:gd name="connsiteY1" fmla="*/ 0 h 5654031"/>
              <a:gd name="connsiteX2" fmla="*/ 6337786 w 7095066"/>
              <a:gd name="connsiteY2" fmla="*/ 1168400 h 5654031"/>
              <a:gd name="connsiteX3" fmla="*/ 7095066 w 7095066"/>
              <a:gd name="connsiteY3" fmla="*/ 2857014 h 5654031"/>
              <a:gd name="connsiteX4" fmla="*/ 6079066 w 7095066"/>
              <a:gd name="connsiteY4" fmla="*/ 5279452 h 5654031"/>
              <a:gd name="connsiteX5" fmla="*/ 0 w 7095066"/>
              <a:gd name="connsiteY5" fmla="*/ 5304853 h 5654031"/>
              <a:gd name="connsiteX6" fmla="*/ 25399 w 7095066"/>
              <a:gd name="connsiteY6" fmla="*/ 46081 h 5654031"/>
              <a:gd name="connsiteX0" fmla="*/ 25399 w 7095066"/>
              <a:gd name="connsiteY0" fmla="*/ 46081 h 5384007"/>
              <a:gd name="connsiteX1" fmla="*/ 3576680 w 7095066"/>
              <a:gd name="connsiteY1" fmla="*/ 0 h 5384007"/>
              <a:gd name="connsiteX2" fmla="*/ 6337786 w 7095066"/>
              <a:gd name="connsiteY2" fmla="*/ 1168400 h 5384007"/>
              <a:gd name="connsiteX3" fmla="*/ 7095066 w 7095066"/>
              <a:gd name="connsiteY3" fmla="*/ 2857014 h 5384007"/>
              <a:gd name="connsiteX4" fmla="*/ 6079066 w 7095066"/>
              <a:gd name="connsiteY4" fmla="*/ 5279452 h 5384007"/>
              <a:gd name="connsiteX5" fmla="*/ 0 w 7095066"/>
              <a:gd name="connsiteY5" fmla="*/ 5304853 h 5384007"/>
              <a:gd name="connsiteX6" fmla="*/ 25399 w 7095066"/>
              <a:gd name="connsiteY6" fmla="*/ 46081 h 5384007"/>
              <a:gd name="connsiteX0" fmla="*/ 25399 w 7095066"/>
              <a:gd name="connsiteY0" fmla="*/ 46081 h 5309457"/>
              <a:gd name="connsiteX1" fmla="*/ 3576680 w 7095066"/>
              <a:gd name="connsiteY1" fmla="*/ 0 h 5309457"/>
              <a:gd name="connsiteX2" fmla="*/ 6337786 w 7095066"/>
              <a:gd name="connsiteY2" fmla="*/ 1168400 h 5309457"/>
              <a:gd name="connsiteX3" fmla="*/ 7095066 w 7095066"/>
              <a:gd name="connsiteY3" fmla="*/ 2857014 h 5309457"/>
              <a:gd name="connsiteX4" fmla="*/ 6079066 w 7095066"/>
              <a:gd name="connsiteY4" fmla="*/ 5279452 h 5309457"/>
              <a:gd name="connsiteX5" fmla="*/ 0 w 7095066"/>
              <a:gd name="connsiteY5" fmla="*/ 5304853 h 5309457"/>
              <a:gd name="connsiteX6" fmla="*/ 25399 w 7095066"/>
              <a:gd name="connsiteY6" fmla="*/ 46081 h 5309457"/>
              <a:gd name="connsiteX0" fmla="*/ 25399 w 7221566"/>
              <a:gd name="connsiteY0" fmla="*/ 46081 h 5309457"/>
              <a:gd name="connsiteX1" fmla="*/ 3576680 w 7221566"/>
              <a:gd name="connsiteY1" fmla="*/ 0 h 5309457"/>
              <a:gd name="connsiteX2" fmla="*/ 6337786 w 7221566"/>
              <a:gd name="connsiteY2" fmla="*/ 1168400 h 5309457"/>
              <a:gd name="connsiteX3" fmla="*/ 7095066 w 7221566"/>
              <a:gd name="connsiteY3" fmla="*/ 2857014 h 5309457"/>
              <a:gd name="connsiteX4" fmla="*/ 6079066 w 7221566"/>
              <a:gd name="connsiteY4" fmla="*/ 5279452 h 5309457"/>
              <a:gd name="connsiteX5" fmla="*/ 0 w 7221566"/>
              <a:gd name="connsiteY5" fmla="*/ 5304853 h 5309457"/>
              <a:gd name="connsiteX6" fmla="*/ 25399 w 7221566"/>
              <a:gd name="connsiteY6" fmla="*/ 46081 h 5309457"/>
              <a:gd name="connsiteX0" fmla="*/ 25399 w 7224068"/>
              <a:gd name="connsiteY0" fmla="*/ 46081 h 5309457"/>
              <a:gd name="connsiteX1" fmla="*/ 3576680 w 7224068"/>
              <a:gd name="connsiteY1" fmla="*/ 0 h 5309457"/>
              <a:gd name="connsiteX2" fmla="*/ 6354719 w 7224068"/>
              <a:gd name="connsiteY2" fmla="*/ 1151467 h 5309457"/>
              <a:gd name="connsiteX3" fmla="*/ 7095066 w 7224068"/>
              <a:gd name="connsiteY3" fmla="*/ 2857014 h 5309457"/>
              <a:gd name="connsiteX4" fmla="*/ 6079066 w 7224068"/>
              <a:gd name="connsiteY4" fmla="*/ 5279452 h 5309457"/>
              <a:gd name="connsiteX5" fmla="*/ 0 w 7224068"/>
              <a:gd name="connsiteY5" fmla="*/ 5304853 h 5309457"/>
              <a:gd name="connsiteX6" fmla="*/ 25399 w 7224068"/>
              <a:gd name="connsiteY6" fmla="*/ 46081 h 5309457"/>
              <a:gd name="connsiteX0" fmla="*/ 25399 w 7231245"/>
              <a:gd name="connsiteY0" fmla="*/ 46081 h 5309457"/>
              <a:gd name="connsiteX1" fmla="*/ 3576680 w 7231245"/>
              <a:gd name="connsiteY1" fmla="*/ 0 h 5309457"/>
              <a:gd name="connsiteX2" fmla="*/ 6354719 w 7231245"/>
              <a:gd name="connsiteY2" fmla="*/ 1151467 h 5309457"/>
              <a:gd name="connsiteX3" fmla="*/ 7095066 w 7231245"/>
              <a:gd name="connsiteY3" fmla="*/ 2857014 h 5309457"/>
              <a:gd name="connsiteX4" fmla="*/ 6079066 w 7231245"/>
              <a:gd name="connsiteY4" fmla="*/ 5279452 h 5309457"/>
              <a:gd name="connsiteX5" fmla="*/ 0 w 7231245"/>
              <a:gd name="connsiteY5" fmla="*/ 5304853 h 5309457"/>
              <a:gd name="connsiteX6" fmla="*/ 25399 w 7231245"/>
              <a:gd name="connsiteY6" fmla="*/ 46081 h 5309457"/>
              <a:gd name="connsiteX0" fmla="*/ 25399 w 7237679"/>
              <a:gd name="connsiteY0" fmla="*/ 46081 h 5309457"/>
              <a:gd name="connsiteX1" fmla="*/ 3576680 w 7237679"/>
              <a:gd name="connsiteY1" fmla="*/ 0 h 5309457"/>
              <a:gd name="connsiteX2" fmla="*/ 6354719 w 7237679"/>
              <a:gd name="connsiteY2" fmla="*/ 1151467 h 5309457"/>
              <a:gd name="connsiteX3" fmla="*/ 7095066 w 7237679"/>
              <a:gd name="connsiteY3" fmla="*/ 2857014 h 5309457"/>
              <a:gd name="connsiteX4" fmla="*/ 6079066 w 7237679"/>
              <a:gd name="connsiteY4" fmla="*/ 5279452 h 5309457"/>
              <a:gd name="connsiteX5" fmla="*/ 0 w 7237679"/>
              <a:gd name="connsiteY5" fmla="*/ 5304853 h 5309457"/>
              <a:gd name="connsiteX6" fmla="*/ 25399 w 7237679"/>
              <a:gd name="connsiteY6" fmla="*/ 46081 h 5309457"/>
              <a:gd name="connsiteX0" fmla="*/ 25399 w 7237679"/>
              <a:gd name="connsiteY0" fmla="*/ 46081 h 5309457"/>
              <a:gd name="connsiteX1" fmla="*/ 3576680 w 7237679"/>
              <a:gd name="connsiteY1" fmla="*/ 0 h 5309457"/>
              <a:gd name="connsiteX2" fmla="*/ 6354719 w 7237679"/>
              <a:gd name="connsiteY2" fmla="*/ 1151467 h 5309457"/>
              <a:gd name="connsiteX3" fmla="*/ 7095066 w 7237679"/>
              <a:gd name="connsiteY3" fmla="*/ 2857014 h 5309457"/>
              <a:gd name="connsiteX4" fmla="*/ 6079066 w 7237679"/>
              <a:gd name="connsiteY4" fmla="*/ 5279452 h 5309457"/>
              <a:gd name="connsiteX5" fmla="*/ 0 w 7237679"/>
              <a:gd name="connsiteY5" fmla="*/ 5304853 h 5309457"/>
              <a:gd name="connsiteX6" fmla="*/ 25399 w 7237679"/>
              <a:gd name="connsiteY6" fmla="*/ 46081 h 5309457"/>
              <a:gd name="connsiteX0" fmla="*/ 25399 w 7219503"/>
              <a:gd name="connsiteY0" fmla="*/ 46081 h 5309457"/>
              <a:gd name="connsiteX1" fmla="*/ 3576680 w 7219503"/>
              <a:gd name="connsiteY1" fmla="*/ 0 h 5309457"/>
              <a:gd name="connsiteX2" fmla="*/ 6354719 w 7219503"/>
              <a:gd name="connsiteY2" fmla="*/ 1151467 h 5309457"/>
              <a:gd name="connsiteX3" fmla="*/ 7095066 w 7219503"/>
              <a:gd name="connsiteY3" fmla="*/ 2857014 h 5309457"/>
              <a:gd name="connsiteX4" fmla="*/ 6079066 w 7219503"/>
              <a:gd name="connsiteY4" fmla="*/ 5279452 h 5309457"/>
              <a:gd name="connsiteX5" fmla="*/ 0 w 7219503"/>
              <a:gd name="connsiteY5" fmla="*/ 5304853 h 5309457"/>
              <a:gd name="connsiteX6" fmla="*/ 25399 w 7219503"/>
              <a:gd name="connsiteY6" fmla="*/ 46081 h 5309457"/>
              <a:gd name="connsiteX0" fmla="*/ 25399 w 7220800"/>
              <a:gd name="connsiteY0" fmla="*/ 46081 h 5309457"/>
              <a:gd name="connsiteX1" fmla="*/ 3576680 w 7220800"/>
              <a:gd name="connsiteY1" fmla="*/ 0 h 5309457"/>
              <a:gd name="connsiteX2" fmla="*/ 6354719 w 7220800"/>
              <a:gd name="connsiteY2" fmla="*/ 1151467 h 5309457"/>
              <a:gd name="connsiteX3" fmla="*/ 7095066 w 7220800"/>
              <a:gd name="connsiteY3" fmla="*/ 2857014 h 5309457"/>
              <a:gd name="connsiteX4" fmla="*/ 6079066 w 7220800"/>
              <a:gd name="connsiteY4" fmla="*/ 5279452 h 5309457"/>
              <a:gd name="connsiteX5" fmla="*/ 0 w 7220800"/>
              <a:gd name="connsiteY5" fmla="*/ 5304853 h 5309457"/>
              <a:gd name="connsiteX6" fmla="*/ 25399 w 7220800"/>
              <a:gd name="connsiteY6" fmla="*/ 46081 h 5309457"/>
              <a:gd name="connsiteX0" fmla="*/ 25399 w 7230411"/>
              <a:gd name="connsiteY0" fmla="*/ 46081 h 5309457"/>
              <a:gd name="connsiteX1" fmla="*/ 3576680 w 7230411"/>
              <a:gd name="connsiteY1" fmla="*/ 0 h 5309457"/>
              <a:gd name="connsiteX2" fmla="*/ 6354719 w 7230411"/>
              <a:gd name="connsiteY2" fmla="*/ 1151467 h 5309457"/>
              <a:gd name="connsiteX3" fmla="*/ 7095066 w 7230411"/>
              <a:gd name="connsiteY3" fmla="*/ 2857014 h 5309457"/>
              <a:gd name="connsiteX4" fmla="*/ 6079066 w 7230411"/>
              <a:gd name="connsiteY4" fmla="*/ 5279452 h 5309457"/>
              <a:gd name="connsiteX5" fmla="*/ 0 w 7230411"/>
              <a:gd name="connsiteY5" fmla="*/ 5304853 h 5309457"/>
              <a:gd name="connsiteX6" fmla="*/ 25399 w 7230411"/>
              <a:gd name="connsiteY6" fmla="*/ 46081 h 5309457"/>
              <a:gd name="connsiteX0" fmla="*/ 25399 w 7222115"/>
              <a:gd name="connsiteY0" fmla="*/ 46081 h 5309457"/>
              <a:gd name="connsiteX1" fmla="*/ 3576680 w 7222115"/>
              <a:gd name="connsiteY1" fmla="*/ 0 h 5309457"/>
              <a:gd name="connsiteX2" fmla="*/ 6354719 w 7222115"/>
              <a:gd name="connsiteY2" fmla="*/ 1151467 h 5309457"/>
              <a:gd name="connsiteX3" fmla="*/ 7095066 w 7222115"/>
              <a:gd name="connsiteY3" fmla="*/ 2857014 h 5309457"/>
              <a:gd name="connsiteX4" fmla="*/ 6079066 w 7222115"/>
              <a:gd name="connsiteY4" fmla="*/ 5279452 h 5309457"/>
              <a:gd name="connsiteX5" fmla="*/ 0 w 7222115"/>
              <a:gd name="connsiteY5" fmla="*/ 5304853 h 5309457"/>
              <a:gd name="connsiteX6" fmla="*/ 25399 w 7222115"/>
              <a:gd name="connsiteY6" fmla="*/ 46081 h 5309457"/>
              <a:gd name="connsiteX0" fmla="*/ 25399 w 7225760"/>
              <a:gd name="connsiteY0" fmla="*/ 46081 h 5309457"/>
              <a:gd name="connsiteX1" fmla="*/ 3576680 w 7225760"/>
              <a:gd name="connsiteY1" fmla="*/ 0 h 5309457"/>
              <a:gd name="connsiteX2" fmla="*/ 6354719 w 7225760"/>
              <a:gd name="connsiteY2" fmla="*/ 1151467 h 5309457"/>
              <a:gd name="connsiteX3" fmla="*/ 7095066 w 7225760"/>
              <a:gd name="connsiteY3" fmla="*/ 2857014 h 5309457"/>
              <a:gd name="connsiteX4" fmla="*/ 6079066 w 7225760"/>
              <a:gd name="connsiteY4" fmla="*/ 5279452 h 5309457"/>
              <a:gd name="connsiteX5" fmla="*/ 0 w 7225760"/>
              <a:gd name="connsiteY5" fmla="*/ 5304853 h 5309457"/>
              <a:gd name="connsiteX6" fmla="*/ 25399 w 7225760"/>
              <a:gd name="connsiteY6" fmla="*/ 46081 h 5309457"/>
              <a:gd name="connsiteX0" fmla="*/ 2203822 w 7225760"/>
              <a:gd name="connsiteY0" fmla="*/ 32634 h 5309457"/>
              <a:gd name="connsiteX1" fmla="*/ 3576680 w 7225760"/>
              <a:gd name="connsiteY1" fmla="*/ 0 h 5309457"/>
              <a:gd name="connsiteX2" fmla="*/ 6354719 w 7225760"/>
              <a:gd name="connsiteY2" fmla="*/ 1151467 h 5309457"/>
              <a:gd name="connsiteX3" fmla="*/ 7095066 w 7225760"/>
              <a:gd name="connsiteY3" fmla="*/ 2857014 h 5309457"/>
              <a:gd name="connsiteX4" fmla="*/ 6079066 w 7225760"/>
              <a:gd name="connsiteY4" fmla="*/ 5279452 h 5309457"/>
              <a:gd name="connsiteX5" fmla="*/ 0 w 7225760"/>
              <a:gd name="connsiteY5" fmla="*/ 5304853 h 5309457"/>
              <a:gd name="connsiteX6" fmla="*/ 2203822 w 7225760"/>
              <a:gd name="connsiteY6" fmla="*/ 32634 h 5309457"/>
              <a:gd name="connsiteX0" fmla="*/ 2661022 w 7225760"/>
              <a:gd name="connsiteY0" fmla="*/ 46081 h 5309457"/>
              <a:gd name="connsiteX1" fmla="*/ 3576680 w 7225760"/>
              <a:gd name="connsiteY1" fmla="*/ 0 h 5309457"/>
              <a:gd name="connsiteX2" fmla="*/ 6354719 w 7225760"/>
              <a:gd name="connsiteY2" fmla="*/ 1151467 h 5309457"/>
              <a:gd name="connsiteX3" fmla="*/ 7095066 w 7225760"/>
              <a:gd name="connsiteY3" fmla="*/ 2857014 h 5309457"/>
              <a:gd name="connsiteX4" fmla="*/ 6079066 w 7225760"/>
              <a:gd name="connsiteY4" fmla="*/ 5279452 h 5309457"/>
              <a:gd name="connsiteX5" fmla="*/ 0 w 7225760"/>
              <a:gd name="connsiteY5" fmla="*/ 5304853 h 5309457"/>
              <a:gd name="connsiteX6" fmla="*/ 2661022 w 7225760"/>
              <a:gd name="connsiteY6" fmla="*/ 46081 h 5309457"/>
              <a:gd name="connsiteX0" fmla="*/ 25399 w 4590137"/>
              <a:gd name="connsiteY0" fmla="*/ 46081 h 5309457"/>
              <a:gd name="connsiteX1" fmla="*/ 941057 w 4590137"/>
              <a:gd name="connsiteY1" fmla="*/ 0 h 5309457"/>
              <a:gd name="connsiteX2" fmla="*/ 3719096 w 4590137"/>
              <a:gd name="connsiteY2" fmla="*/ 1151467 h 5309457"/>
              <a:gd name="connsiteX3" fmla="*/ 4459443 w 4590137"/>
              <a:gd name="connsiteY3" fmla="*/ 2857014 h 5309457"/>
              <a:gd name="connsiteX4" fmla="*/ 3443443 w 4590137"/>
              <a:gd name="connsiteY4" fmla="*/ 5279452 h 5309457"/>
              <a:gd name="connsiteX5" fmla="*/ 0 w 4590137"/>
              <a:gd name="connsiteY5" fmla="*/ 5304853 h 5309457"/>
              <a:gd name="connsiteX6" fmla="*/ 25399 w 4590137"/>
              <a:gd name="connsiteY6" fmla="*/ 46081 h 5309457"/>
              <a:gd name="connsiteX0" fmla="*/ 25399 w 4590137"/>
              <a:gd name="connsiteY0" fmla="*/ 19217 h 5309487"/>
              <a:gd name="connsiteX1" fmla="*/ 941057 w 4590137"/>
              <a:gd name="connsiteY1" fmla="*/ 30 h 5309487"/>
              <a:gd name="connsiteX2" fmla="*/ 3719096 w 4590137"/>
              <a:gd name="connsiteY2" fmla="*/ 1151497 h 5309487"/>
              <a:gd name="connsiteX3" fmla="*/ 4459443 w 4590137"/>
              <a:gd name="connsiteY3" fmla="*/ 2857044 h 5309487"/>
              <a:gd name="connsiteX4" fmla="*/ 3443443 w 4590137"/>
              <a:gd name="connsiteY4" fmla="*/ 5279482 h 5309487"/>
              <a:gd name="connsiteX5" fmla="*/ 0 w 4590137"/>
              <a:gd name="connsiteY5" fmla="*/ 5304883 h 5309487"/>
              <a:gd name="connsiteX6" fmla="*/ 25399 w 4590137"/>
              <a:gd name="connsiteY6" fmla="*/ 19217 h 5309487"/>
              <a:gd name="connsiteX0" fmla="*/ 340 w 4565078"/>
              <a:gd name="connsiteY0" fmla="*/ 19217 h 5320193"/>
              <a:gd name="connsiteX1" fmla="*/ 915998 w 4565078"/>
              <a:gd name="connsiteY1" fmla="*/ 30 h 5320193"/>
              <a:gd name="connsiteX2" fmla="*/ 3694037 w 4565078"/>
              <a:gd name="connsiteY2" fmla="*/ 1151497 h 5320193"/>
              <a:gd name="connsiteX3" fmla="*/ 4434384 w 4565078"/>
              <a:gd name="connsiteY3" fmla="*/ 2857044 h 5320193"/>
              <a:gd name="connsiteX4" fmla="*/ 3418384 w 4565078"/>
              <a:gd name="connsiteY4" fmla="*/ 5279482 h 5320193"/>
              <a:gd name="connsiteX5" fmla="*/ 55624 w 4565078"/>
              <a:gd name="connsiteY5" fmla="*/ 5318330 h 5320193"/>
              <a:gd name="connsiteX6" fmla="*/ 340 w 4565078"/>
              <a:gd name="connsiteY6" fmla="*/ 19217 h 532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5078" h="5320193">
                <a:moveTo>
                  <a:pt x="340" y="19217"/>
                </a:moveTo>
                <a:cubicBezTo>
                  <a:pt x="8807" y="-1608"/>
                  <a:pt x="268639" y="30"/>
                  <a:pt x="915998" y="30"/>
                </a:cubicBezTo>
                <a:lnTo>
                  <a:pt x="3694037" y="1151497"/>
                </a:lnTo>
                <a:cubicBezTo>
                  <a:pt x="4451464" y="1447831"/>
                  <a:pt x="4764584" y="2065752"/>
                  <a:pt x="4434384" y="2857044"/>
                </a:cubicBezTo>
                <a:cubicBezTo>
                  <a:pt x="4036451" y="3771768"/>
                  <a:pt x="3824784" y="4313958"/>
                  <a:pt x="3418384" y="5279482"/>
                </a:cubicBezTo>
                <a:cubicBezTo>
                  <a:pt x="1957884" y="5317744"/>
                  <a:pt x="965791" y="5324136"/>
                  <a:pt x="55624" y="5318330"/>
                </a:cubicBezTo>
                <a:cubicBezTo>
                  <a:pt x="61268" y="3949228"/>
                  <a:pt x="-5304" y="1388319"/>
                  <a:pt x="340" y="19217"/>
                </a:cubicBezTo>
                <a:close/>
              </a:path>
            </a:pathLst>
          </a:custGeom>
          <a:solidFill>
            <a:schemeClr val="accent6"/>
          </a:solidFill>
          <a:ln>
            <a:noFill/>
          </a:ln>
        </p:spPr>
        <p:txBody>
          <a:bodyPr/>
          <a:lstStyle/>
          <a:p>
            <a:endParaRPr lang="en-US"/>
          </a:p>
        </p:txBody>
      </p:sp>
    </p:spTree>
    <p:extLst>
      <p:ext uri="{BB962C8B-B14F-4D97-AF65-F5344CB8AC3E}">
        <p14:creationId xmlns:p14="http://schemas.microsoft.com/office/powerpoint/2010/main" val="3688658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A53F5-12DD-F64A-9994-C5D42962CC52}"/>
              </a:ext>
            </a:extLst>
          </p:cNvPr>
          <p:cNvSpPr>
            <a:spLocks noGrp="1"/>
          </p:cNvSpPr>
          <p:nvPr>
            <p:ph type="title"/>
          </p:nvPr>
        </p:nvSpPr>
        <p:spPr/>
        <p:txBody>
          <a:bodyPr/>
          <a:lstStyle>
            <a:lvl1pPr>
              <a:defRPr sz="4800"/>
            </a:lvl1pPr>
          </a:lstStyle>
          <a:p>
            <a:r>
              <a:rPr lang="en-US"/>
              <a:t>Click to edit Master title style</a:t>
            </a:r>
          </a:p>
        </p:txBody>
      </p:sp>
      <p:sp>
        <p:nvSpPr>
          <p:cNvPr id="6" name="Footer Placeholder 5">
            <a:extLst>
              <a:ext uri="{FF2B5EF4-FFF2-40B4-BE49-F238E27FC236}">
                <a16:creationId xmlns:a16="http://schemas.microsoft.com/office/drawing/2014/main" id="{204224B7-4C72-A84C-8619-11A88FA6DE77}"/>
              </a:ext>
            </a:extLst>
          </p:cNvPr>
          <p:cNvSpPr>
            <a:spLocks noGrp="1"/>
          </p:cNvSpPr>
          <p:nvPr>
            <p:ph type="ftr" sz="quarter" idx="10"/>
          </p:nvPr>
        </p:nvSpPr>
        <p:spPr>
          <a:xfrm>
            <a:off x="838200" y="7787306"/>
            <a:ext cx="4114800" cy="366183"/>
          </a:xfrm>
          <a:prstGeom prst="rect">
            <a:avLst/>
          </a:prstGeom>
        </p:spPr>
        <p:txBody>
          <a:bodyPr/>
          <a:lstStyle>
            <a:lvl1pPr>
              <a:defRPr b="0" i="0">
                <a:latin typeface="TT Commons Pro" panose="020B0103030102020204" pitchFamily="34" charset="77"/>
              </a:defRPr>
            </a:lvl1pPr>
          </a:lstStyle>
          <a:p>
            <a:endParaRPr lang="en-US"/>
          </a:p>
        </p:txBody>
      </p:sp>
      <p:sp>
        <p:nvSpPr>
          <p:cNvPr id="7" name="Slide Number Placeholder 6">
            <a:extLst>
              <a:ext uri="{FF2B5EF4-FFF2-40B4-BE49-F238E27FC236}">
                <a16:creationId xmlns:a16="http://schemas.microsoft.com/office/drawing/2014/main" id="{64F73D47-0495-6042-8D5A-93FD679C0820}"/>
              </a:ext>
            </a:extLst>
          </p:cNvPr>
          <p:cNvSpPr>
            <a:spLocks noGrp="1"/>
          </p:cNvSpPr>
          <p:nvPr>
            <p:ph type="sldNum" sz="quarter" idx="11"/>
          </p:nvPr>
        </p:nvSpPr>
        <p:spPr>
          <a:xfrm>
            <a:off x="406400" y="6293909"/>
            <a:ext cx="2743200" cy="366183"/>
          </a:xfrm>
        </p:spPr>
        <p:txBody>
          <a:bodyPr/>
          <a:lstStyle/>
          <a:p>
            <a:fld id="{8F301CD7-22C3-7A42-9674-1AB8A6429604}" type="slidenum">
              <a:rPr lang="en-US" smtClean="0"/>
              <a:pPr/>
              <a:t>‹#›</a:t>
            </a:fld>
            <a:endParaRPr lang="en-US"/>
          </a:p>
        </p:txBody>
      </p:sp>
    </p:spTree>
    <p:extLst>
      <p:ext uri="{BB962C8B-B14F-4D97-AF65-F5344CB8AC3E}">
        <p14:creationId xmlns:p14="http://schemas.microsoft.com/office/powerpoint/2010/main" val="17026231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15E89-4202-86A4-87B5-DB8C1966AF7D}"/>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7A415E89-4202-86A4-87B5-DB8C1966AF7D}"/>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DC3AA80E-18D5-224D-8282-7980B3EB9C58}"/>
              </a:ext>
            </a:extLst>
          </p:cNvPr>
          <p:cNvSpPr>
            <a:spLocks noGrp="1"/>
          </p:cNvSpPr>
          <p:nvPr>
            <p:ph type="sldNum" sz="quarter" idx="11"/>
          </p:nvPr>
        </p:nvSpPr>
        <p:spPr>
          <a:xfrm>
            <a:off x="406400" y="6293909"/>
            <a:ext cx="2743200" cy="366183"/>
          </a:xfrm>
        </p:spPr>
        <p:txBody>
          <a:bodyPr/>
          <a:lstStyle/>
          <a:p>
            <a:fld id="{8F301CD7-22C3-7A42-9674-1AB8A6429604}" type="slidenum">
              <a:rPr lang="en-US" smtClean="0"/>
              <a:pPr/>
              <a:t>‹#›</a:t>
            </a:fld>
            <a:endParaRPr lang="en-US"/>
          </a:p>
        </p:txBody>
      </p:sp>
    </p:spTree>
    <p:extLst>
      <p:ext uri="{BB962C8B-B14F-4D97-AF65-F5344CB8AC3E}">
        <p14:creationId xmlns:p14="http://schemas.microsoft.com/office/powerpoint/2010/main" val="368245133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C0716C41-EACB-0A4B-8507-94382E68CCD5}"/>
              </a:ext>
            </a:extLst>
          </p:cNvPr>
          <p:cNvSpPr>
            <a:spLocks noChangeAspect="1"/>
          </p:cNvSpPr>
          <p:nvPr userDrawn="1"/>
        </p:nvSpPr>
        <p:spPr>
          <a:xfrm rot="17548083">
            <a:off x="-866200" y="206104"/>
            <a:ext cx="7088984" cy="8642717"/>
          </a:xfrm>
          <a:custGeom>
            <a:avLst/>
            <a:gdLst>
              <a:gd name="connsiteX0" fmla="*/ 0 w 5976594"/>
              <a:gd name="connsiteY0" fmla="*/ 1137943 h 7083059"/>
              <a:gd name="connsiteX1" fmla="*/ 1137943 w 5976594"/>
              <a:gd name="connsiteY1" fmla="*/ 0 h 7083059"/>
              <a:gd name="connsiteX2" fmla="*/ 4838651 w 5976594"/>
              <a:gd name="connsiteY2" fmla="*/ 0 h 7083059"/>
              <a:gd name="connsiteX3" fmla="*/ 5976594 w 5976594"/>
              <a:gd name="connsiteY3" fmla="*/ 1137943 h 7083059"/>
              <a:gd name="connsiteX4" fmla="*/ 5976594 w 5976594"/>
              <a:gd name="connsiteY4" fmla="*/ 5945116 h 7083059"/>
              <a:gd name="connsiteX5" fmla="*/ 4838651 w 5976594"/>
              <a:gd name="connsiteY5" fmla="*/ 7083059 h 7083059"/>
              <a:gd name="connsiteX6" fmla="*/ 1137943 w 5976594"/>
              <a:gd name="connsiteY6" fmla="*/ 7083059 h 7083059"/>
              <a:gd name="connsiteX7" fmla="*/ 0 w 5976594"/>
              <a:gd name="connsiteY7" fmla="*/ 5945116 h 7083059"/>
              <a:gd name="connsiteX8" fmla="*/ 0 w 5976594"/>
              <a:gd name="connsiteY8" fmla="*/ 1137943 h 7083059"/>
              <a:gd name="connsiteX0" fmla="*/ 0 w 6555807"/>
              <a:gd name="connsiteY0" fmla="*/ 3119022 h 7083059"/>
              <a:gd name="connsiteX1" fmla="*/ 1717156 w 6555807"/>
              <a:gd name="connsiteY1" fmla="*/ 0 h 7083059"/>
              <a:gd name="connsiteX2" fmla="*/ 5417864 w 6555807"/>
              <a:gd name="connsiteY2" fmla="*/ 0 h 7083059"/>
              <a:gd name="connsiteX3" fmla="*/ 6555807 w 6555807"/>
              <a:gd name="connsiteY3" fmla="*/ 1137943 h 7083059"/>
              <a:gd name="connsiteX4" fmla="*/ 6555807 w 6555807"/>
              <a:gd name="connsiteY4" fmla="*/ 5945116 h 7083059"/>
              <a:gd name="connsiteX5" fmla="*/ 5417864 w 6555807"/>
              <a:gd name="connsiteY5" fmla="*/ 7083059 h 7083059"/>
              <a:gd name="connsiteX6" fmla="*/ 1717156 w 6555807"/>
              <a:gd name="connsiteY6" fmla="*/ 7083059 h 7083059"/>
              <a:gd name="connsiteX7" fmla="*/ 579213 w 6555807"/>
              <a:gd name="connsiteY7" fmla="*/ 5945116 h 7083059"/>
              <a:gd name="connsiteX8" fmla="*/ 0 w 6555807"/>
              <a:gd name="connsiteY8" fmla="*/ 3119022 h 7083059"/>
              <a:gd name="connsiteX0" fmla="*/ 0 w 6555807"/>
              <a:gd name="connsiteY0" fmla="*/ 3119022 h 7083059"/>
              <a:gd name="connsiteX1" fmla="*/ 5417864 w 6555807"/>
              <a:gd name="connsiteY1" fmla="*/ 0 h 7083059"/>
              <a:gd name="connsiteX2" fmla="*/ 6555807 w 6555807"/>
              <a:gd name="connsiteY2" fmla="*/ 1137943 h 7083059"/>
              <a:gd name="connsiteX3" fmla="*/ 6555807 w 6555807"/>
              <a:gd name="connsiteY3" fmla="*/ 5945116 h 7083059"/>
              <a:gd name="connsiteX4" fmla="*/ 5417864 w 6555807"/>
              <a:gd name="connsiteY4" fmla="*/ 7083059 h 7083059"/>
              <a:gd name="connsiteX5" fmla="*/ 1717156 w 6555807"/>
              <a:gd name="connsiteY5" fmla="*/ 7083059 h 7083059"/>
              <a:gd name="connsiteX6" fmla="*/ 579213 w 6555807"/>
              <a:gd name="connsiteY6" fmla="*/ 5945116 h 7083059"/>
              <a:gd name="connsiteX7" fmla="*/ 0 w 6555807"/>
              <a:gd name="connsiteY7" fmla="*/ 3119022 h 7083059"/>
              <a:gd name="connsiteX0" fmla="*/ 336585 w 6892392"/>
              <a:gd name="connsiteY0" fmla="*/ 3119022 h 7083059"/>
              <a:gd name="connsiteX1" fmla="*/ 5754449 w 6892392"/>
              <a:gd name="connsiteY1" fmla="*/ 0 h 7083059"/>
              <a:gd name="connsiteX2" fmla="*/ 6892392 w 6892392"/>
              <a:gd name="connsiteY2" fmla="*/ 1137943 h 7083059"/>
              <a:gd name="connsiteX3" fmla="*/ 6892392 w 6892392"/>
              <a:gd name="connsiteY3" fmla="*/ 5945116 h 7083059"/>
              <a:gd name="connsiteX4" fmla="*/ 5754449 w 6892392"/>
              <a:gd name="connsiteY4" fmla="*/ 7083059 h 7083059"/>
              <a:gd name="connsiteX5" fmla="*/ 2053741 w 6892392"/>
              <a:gd name="connsiteY5" fmla="*/ 7083059 h 7083059"/>
              <a:gd name="connsiteX6" fmla="*/ 915798 w 6892392"/>
              <a:gd name="connsiteY6" fmla="*/ 5945116 h 7083059"/>
              <a:gd name="connsiteX7" fmla="*/ 336585 w 6892392"/>
              <a:gd name="connsiteY7" fmla="*/ 3119022 h 7083059"/>
              <a:gd name="connsiteX0" fmla="*/ 459591 w 6398298"/>
              <a:gd name="connsiteY0" fmla="*/ 2059011 h 7083059"/>
              <a:gd name="connsiteX1" fmla="*/ 5260355 w 6398298"/>
              <a:gd name="connsiteY1" fmla="*/ 0 h 7083059"/>
              <a:gd name="connsiteX2" fmla="*/ 6398298 w 6398298"/>
              <a:gd name="connsiteY2" fmla="*/ 1137943 h 7083059"/>
              <a:gd name="connsiteX3" fmla="*/ 6398298 w 6398298"/>
              <a:gd name="connsiteY3" fmla="*/ 5945116 h 7083059"/>
              <a:gd name="connsiteX4" fmla="*/ 5260355 w 6398298"/>
              <a:gd name="connsiteY4" fmla="*/ 7083059 h 7083059"/>
              <a:gd name="connsiteX5" fmla="*/ 1559647 w 6398298"/>
              <a:gd name="connsiteY5" fmla="*/ 7083059 h 7083059"/>
              <a:gd name="connsiteX6" fmla="*/ 421704 w 6398298"/>
              <a:gd name="connsiteY6" fmla="*/ 5945116 h 7083059"/>
              <a:gd name="connsiteX7" fmla="*/ 459591 w 6398298"/>
              <a:gd name="connsiteY7" fmla="*/ 2059011 h 7083059"/>
              <a:gd name="connsiteX0" fmla="*/ 459591 w 6398298"/>
              <a:gd name="connsiteY0" fmla="*/ 2059011 h 7083059"/>
              <a:gd name="connsiteX1" fmla="*/ 5260355 w 6398298"/>
              <a:gd name="connsiteY1" fmla="*/ 0 h 7083059"/>
              <a:gd name="connsiteX2" fmla="*/ 6398298 w 6398298"/>
              <a:gd name="connsiteY2" fmla="*/ 1137943 h 7083059"/>
              <a:gd name="connsiteX3" fmla="*/ 6398298 w 6398298"/>
              <a:gd name="connsiteY3" fmla="*/ 5945116 h 7083059"/>
              <a:gd name="connsiteX4" fmla="*/ 5260355 w 6398298"/>
              <a:gd name="connsiteY4" fmla="*/ 7083059 h 7083059"/>
              <a:gd name="connsiteX5" fmla="*/ 1559647 w 6398298"/>
              <a:gd name="connsiteY5" fmla="*/ 7083059 h 7083059"/>
              <a:gd name="connsiteX6" fmla="*/ 421704 w 6398298"/>
              <a:gd name="connsiteY6" fmla="*/ 5945116 h 7083059"/>
              <a:gd name="connsiteX7" fmla="*/ 459591 w 6398298"/>
              <a:gd name="connsiteY7" fmla="*/ 2059011 h 7083059"/>
              <a:gd name="connsiteX0" fmla="*/ 202294 w 6141001"/>
              <a:gd name="connsiteY0" fmla="*/ 2059011 h 7083059"/>
              <a:gd name="connsiteX1" fmla="*/ 5003058 w 6141001"/>
              <a:gd name="connsiteY1" fmla="*/ 0 h 7083059"/>
              <a:gd name="connsiteX2" fmla="*/ 6141001 w 6141001"/>
              <a:gd name="connsiteY2" fmla="*/ 1137943 h 7083059"/>
              <a:gd name="connsiteX3" fmla="*/ 6141001 w 6141001"/>
              <a:gd name="connsiteY3" fmla="*/ 5945116 h 7083059"/>
              <a:gd name="connsiteX4" fmla="*/ 5003058 w 6141001"/>
              <a:gd name="connsiteY4" fmla="*/ 7083059 h 7083059"/>
              <a:gd name="connsiteX5" fmla="*/ 1302350 w 6141001"/>
              <a:gd name="connsiteY5" fmla="*/ 7083059 h 7083059"/>
              <a:gd name="connsiteX6" fmla="*/ 202294 w 6141001"/>
              <a:gd name="connsiteY6" fmla="*/ 2059011 h 7083059"/>
              <a:gd name="connsiteX0" fmla="*/ 123570 w 6062277"/>
              <a:gd name="connsiteY0" fmla="*/ 2059011 h 7083059"/>
              <a:gd name="connsiteX1" fmla="*/ 4924334 w 6062277"/>
              <a:gd name="connsiteY1" fmla="*/ 0 h 7083059"/>
              <a:gd name="connsiteX2" fmla="*/ 6062277 w 6062277"/>
              <a:gd name="connsiteY2" fmla="*/ 1137943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23570 w 6062277"/>
              <a:gd name="connsiteY0" fmla="*/ 2059011 h 7083059"/>
              <a:gd name="connsiteX1" fmla="*/ 4924334 w 6062277"/>
              <a:gd name="connsiteY1" fmla="*/ 0 h 7083059"/>
              <a:gd name="connsiteX2" fmla="*/ 6060370 w 6062277"/>
              <a:gd name="connsiteY2" fmla="*/ 2919852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23570 w 6062277"/>
              <a:gd name="connsiteY0" fmla="*/ 2059011 h 7083059"/>
              <a:gd name="connsiteX1" fmla="*/ 4924334 w 6062277"/>
              <a:gd name="connsiteY1" fmla="*/ 0 h 7083059"/>
              <a:gd name="connsiteX2" fmla="*/ 6060370 w 6062277"/>
              <a:gd name="connsiteY2" fmla="*/ 2919852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23570 w 6062277"/>
              <a:gd name="connsiteY0" fmla="*/ 2059011 h 7083059"/>
              <a:gd name="connsiteX1" fmla="*/ 4924334 w 6062277"/>
              <a:gd name="connsiteY1" fmla="*/ 0 h 7083059"/>
              <a:gd name="connsiteX2" fmla="*/ 6060370 w 6062277"/>
              <a:gd name="connsiteY2" fmla="*/ 2919852 h 7083059"/>
              <a:gd name="connsiteX3" fmla="*/ 6062277 w 6062277"/>
              <a:gd name="connsiteY3" fmla="*/ 5945116 h 7083059"/>
              <a:gd name="connsiteX4" fmla="*/ 4924334 w 6062277"/>
              <a:gd name="connsiteY4" fmla="*/ 7083059 h 7083059"/>
              <a:gd name="connsiteX5" fmla="*/ 2158673 w 6062277"/>
              <a:gd name="connsiteY5" fmla="*/ 7078972 h 7083059"/>
              <a:gd name="connsiteX6" fmla="*/ 123570 w 6062277"/>
              <a:gd name="connsiteY6" fmla="*/ 2059011 h 7083059"/>
              <a:gd name="connsiteX0" fmla="*/ 182803 w 6121510"/>
              <a:gd name="connsiteY0" fmla="*/ 2059011 h 7083059"/>
              <a:gd name="connsiteX1" fmla="*/ 4983567 w 6121510"/>
              <a:gd name="connsiteY1" fmla="*/ 0 h 7083059"/>
              <a:gd name="connsiteX2" fmla="*/ 6119603 w 6121510"/>
              <a:gd name="connsiteY2" fmla="*/ 2919852 h 7083059"/>
              <a:gd name="connsiteX3" fmla="*/ 6121510 w 6121510"/>
              <a:gd name="connsiteY3" fmla="*/ 5945116 h 7083059"/>
              <a:gd name="connsiteX4" fmla="*/ 4983567 w 6121510"/>
              <a:gd name="connsiteY4" fmla="*/ 7083059 h 7083059"/>
              <a:gd name="connsiteX5" fmla="*/ 2217906 w 6121510"/>
              <a:gd name="connsiteY5" fmla="*/ 7078972 h 7083059"/>
              <a:gd name="connsiteX6" fmla="*/ 182803 w 6121510"/>
              <a:gd name="connsiteY6" fmla="*/ 2059011 h 7083059"/>
              <a:gd name="connsiteX0" fmla="*/ 467 w 5939174"/>
              <a:gd name="connsiteY0" fmla="*/ 2059011 h 7083059"/>
              <a:gd name="connsiteX1" fmla="*/ 4801231 w 5939174"/>
              <a:gd name="connsiteY1" fmla="*/ 0 h 7083059"/>
              <a:gd name="connsiteX2" fmla="*/ 5937267 w 5939174"/>
              <a:gd name="connsiteY2" fmla="*/ 2919852 h 7083059"/>
              <a:gd name="connsiteX3" fmla="*/ 5939174 w 5939174"/>
              <a:gd name="connsiteY3" fmla="*/ 5945116 h 7083059"/>
              <a:gd name="connsiteX4" fmla="*/ 4801231 w 5939174"/>
              <a:gd name="connsiteY4" fmla="*/ 7083059 h 7083059"/>
              <a:gd name="connsiteX5" fmla="*/ 2035570 w 5939174"/>
              <a:gd name="connsiteY5" fmla="*/ 7078972 h 7083059"/>
              <a:gd name="connsiteX6" fmla="*/ 467 w 5939174"/>
              <a:gd name="connsiteY6" fmla="*/ 2059011 h 7083059"/>
              <a:gd name="connsiteX0" fmla="*/ 173 w 5938880"/>
              <a:gd name="connsiteY0" fmla="*/ 2059011 h 7083059"/>
              <a:gd name="connsiteX1" fmla="*/ 4800937 w 5938880"/>
              <a:gd name="connsiteY1" fmla="*/ 0 h 7083059"/>
              <a:gd name="connsiteX2" fmla="*/ 5936973 w 5938880"/>
              <a:gd name="connsiteY2" fmla="*/ 2919852 h 7083059"/>
              <a:gd name="connsiteX3" fmla="*/ 5938880 w 5938880"/>
              <a:gd name="connsiteY3" fmla="*/ 5945116 h 7083059"/>
              <a:gd name="connsiteX4" fmla="*/ 4800937 w 5938880"/>
              <a:gd name="connsiteY4" fmla="*/ 7083059 h 7083059"/>
              <a:gd name="connsiteX5" fmla="*/ 2035276 w 5938880"/>
              <a:gd name="connsiteY5" fmla="*/ 7078972 h 7083059"/>
              <a:gd name="connsiteX6" fmla="*/ 173 w 5938880"/>
              <a:gd name="connsiteY6" fmla="*/ 2059011 h 7083059"/>
              <a:gd name="connsiteX0" fmla="*/ 173 w 5938880"/>
              <a:gd name="connsiteY0" fmla="*/ 2078580 h 7102628"/>
              <a:gd name="connsiteX1" fmla="*/ 4800937 w 5938880"/>
              <a:gd name="connsiteY1" fmla="*/ 19569 h 7102628"/>
              <a:gd name="connsiteX2" fmla="*/ 5936973 w 5938880"/>
              <a:gd name="connsiteY2" fmla="*/ 2939421 h 7102628"/>
              <a:gd name="connsiteX3" fmla="*/ 5938880 w 5938880"/>
              <a:gd name="connsiteY3" fmla="*/ 5964685 h 7102628"/>
              <a:gd name="connsiteX4" fmla="*/ 4800937 w 5938880"/>
              <a:gd name="connsiteY4" fmla="*/ 7102628 h 7102628"/>
              <a:gd name="connsiteX5" fmla="*/ 2035276 w 5938880"/>
              <a:gd name="connsiteY5" fmla="*/ 7098541 h 7102628"/>
              <a:gd name="connsiteX6" fmla="*/ 173 w 5938880"/>
              <a:gd name="connsiteY6" fmla="*/ 2078580 h 7102628"/>
              <a:gd name="connsiteX0" fmla="*/ 173 w 5938880"/>
              <a:gd name="connsiteY0" fmla="*/ 2059022 h 7083070"/>
              <a:gd name="connsiteX1" fmla="*/ 4800937 w 5938880"/>
              <a:gd name="connsiteY1" fmla="*/ 11 h 7083070"/>
              <a:gd name="connsiteX2" fmla="*/ 5936973 w 5938880"/>
              <a:gd name="connsiteY2" fmla="*/ 2919863 h 7083070"/>
              <a:gd name="connsiteX3" fmla="*/ 5938880 w 5938880"/>
              <a:gd name="connsiteY3" fmla="*/ 5945127 h 7083070"/>
              <a:gd name="connsiteX4" fmla="*/ 4800937 w 5938880"/>
              <a:gd name="connsiteY4" fmla="*/ 7083070 h 7083070"/>
              <a:gd name="connsiteX5" fmla="*/ 2035276 w 5938880"/>
              <a:gd name="connsiteY5" fmla="*/ 7078983 h 7083070"/>
              <a:gd name="connsiteX6" fmla="*/ 173 w 5938880"/>
              <a:gd name="connsiteY6" fmla="*/ 2059022 h 7083070"/>
              <a:gd name="connsiteX0" fmla="*/ 107 w 5938814"/>
              <a:gd name="connsiteY0" fmla="*/ 2059022 h 7083070"/>
              <a:gd name="connsiteX1" fmla="*/ 4800871 w 5938814"/>
              <a:gd name="connsiteY1" fmla="*/ 11 h 7083070"/>
              <a:gd name="connsiteX2" fmla="*/ 5936907 w 5938814"/>
              <a:gd name="connsiteY2" fmla="*/ 2919863 h 7083070"/>
              <a:gd name="connsiteX3" fmla="*/ 5938814 w 5938814"/>
              <a:gd name="connsiteY3" fmla="*/ 5945127 h 7083070"/>
              <a:gd name="connsiteX4" fmla="*/ 4800871 w 5938814"/>
              <a:gd name="connsiteY4" fmla="*/ 7083070 h 7083070"/>
              <a:gd name="connsiteX5" fmla="*/ 2035210 w 5938814"/>
              <a:gd name="connsiteY5" fmla="*/ 7078983 h 7083070"/>
              <a:gd name="connsiteX6" fmla="*/ 107 w 5938814"/>
              <a:gd name="connsiteY6" fmla="*/ 2059022 h 7083070"/>
              <a:gd name="connsiteX0" fmla="*/ 107 w 5938814"/>
              <a:gd name="connsiteY0" fmla="*/ 2059020 h 7083068"/>
              <a:gd name="connsiteX1" fmla="*/ 4800871 w 5938814"/>
              <a:gd name="connsiteY1" fmla="*/ 9 h 7083068"/>
              <a:gd name="connsiteX2" fmla="*/ 5936907 w 5938814"/>
              <a:gd name="connsiteY2" fmla="*/ 2919861 h 7083068"/>
              <a:gd name="connsiteX3" fmla="*/ 5938814 w 5938814"/>
              <a:gd name="connsiteY3" fmla="*/ 5945125 h 7083068"/>
              <a:gd name="connsiteX4" fmla="*/ 4800871 w 5938814"/>
              <a:gd name="connsiteY4" fmla="*/ 7083068 h 7083068"/>
              <a:gd name="connsiteX5" fmla="*/ 2035210 w 5938814"/>
              <a:gd name="connsiteY5" fmla="*/ 7078981 h 7083068"/>
              <a:gd name="connsiteX6" fmla="*/ 107 w 5938814"/>
              <a:gd name="connsiteY6" fmla="*/ 2059020 h 7083068"/>
              <a:gd name="connsiteX0" fmla="*/ 65623 w 6004330"/>
              <a:gd name="connsiteY0" fmla="*/ 1373846 h 6397894"/>
              <a:gd name="connsiteX1" fmla="*/ 5108944 w 6004330"/>
              <a:gd name="connsiteY1" fmla="*/ 11 h 6397894"/>
              <a:gd name="connsiteX2" fmla="*/ 6002423 w 6004330"/>
              <a:gd name="connsiteY2" fmla="*/ 2234687 h 6397894"/>
              <a:gd name="connsiteX3" fmla="*/ 6004330 w 6004330"/>
              <a:gd name="connsiteY3" fmla="*/ 5259951 h 6397894"/>
              <a:gd name="connsiteX4" fmla="*/ 4866387 w 6004330"/>
              <a:gd name="connsiteY4" fmla="*/ 6397894 h 6397894"/>
              <a:gd name="connsiteX5" fmla="*/ 2100726 w 6004330"/>
              <a:gd name="connsiteY5" fmla="*/ 6393807 h 6397894"/>
              <a:gd name="connsiteX6" fmla="*/ 65623 w 6004330"/>
              <a:gd name="connsiteY6" fmla="*/ 1373846 h 6397894"/>
              <a:gd name="connsiteX0" fmla="*/ 55746 w 5994453"/>
              <a:gd name="connsiteY0" fmla="*/ 1934374 h 6958422"/>
              <a:gd name="connsiteX1" fmla="*/ 4826449 w 5994453"/>
              <a:gd name="connsiteY1" fmla="*/ 8 h 6958422"/>
              <a:gd name="connsiteX2" fmla="*/ 5992546 w 5994453"/>
              <a:gd name="connsiteY2" fmla="*/ 2795215 h 6958422"/>
              <a:gd name="connsiteX3" fmla="*/ 5994453 w 5994453"/>
              <a:gd name="connsiteY3" fmla="*/ 5820479 h 6958422"/>
              <a:gd name="connsiteX4" fmla="*/ 4856510 w 5994453"/>
              <a:gd name="connsiteY4" fmla="*/ 6958422 h 6958422"/>
              <a:gd name="connsiteX5" fmla="*/ 2090849 w 5994453"/>
              <a:gd name="connsiteY5" fmla="*/ 6954335 h 6958422"/>
              <a:gd name="connsiteX6" fmla="*/ 55746 w 5994453"/>
              <a:gd name="connsiteY6" fmla="*/ 1934374 h 6958422"/>
              <a:gd name="connsiteX0" fmla="*/ 55932 w 5985338"/>
              <a:gd name="connsiteY0" fmla="*/ 1994357 h 6971246"/>
              <a:gd name="connsiteX1" fmla="*/ 4817334 w 5985338"/>
              <a:gd name="connsiteY1" fmla="*/ 12832 h 6971246"/>
              <a:gd name="connsiteX2" fmla="*/ 5983431 w 5985338"/>
              <a:gd name="connsiteY2" fmla="*/ 2808039 h 6971246"/>
              <a:gd name="connsiteX3" fmla="*/ 5985338 w 5985338"/>
              <a:gd name="connsiteY3" fmla="*/ 5833303 h 6971246"/>
              <a:gd name="connsiteX4" fmla="*/ 4847395 w 5985338"/>
              <a:gd name="connsiteY4" fmla="*/ 6971246 h 6971246"/>
              <a:gd name="connsiteX5" fmla="*/ 2081734 w 5985338"/>
              <a:gd name="connsiteY5" fmla="*/ 6967159 h 6971246"/>
              <a:gd name="connsiteX6" fmla="*/ 55932 w 5985338"/>
              <a:gd name="connsiteY6" fmla="*/ 1994357 h 6971246"/>
              <a:gd name="connsiteX0" fmla="*/ 0 w 5929406"/>
              <a:gd name="connsiteY0" fmla="*/ 1994357 h 6971246"/>
              <a:gd name="connsiteX1" fmla="*/ 4761402 w 5929406"/>
              <a:gd name="connsiteY1" fmla="*/ 12832 h 6971246"/>
              <a:gd name="connsiteX2" fmla="*/ 5927499 w 5929406"/>
              <a:gd name="connsiteY2" fmla="*/ 2808039 h 6971246"/>
              <a:gd name="connsiteX3" fmla="*/ 5929406 w 5929406"/>
              <a:gd name="connsiteY3" fmla="*/ 5833303 h 6971246"/>
              <a:gd name="connsiteX4" fmla="*/ 4791463 w 5929406"/>
              <a:gd name="connsiteY4" fmla="*/ 6971246 h 6971246"/>
              <a:gd name="connsiteX5" fmla="*/ 2025802 w 5929406"/>
              <a:gd name="connsiteY5" fmla="*/ 6967159 h 6971246"/>
              <a:gd name="connsiteX6" fmla="*/ 0 w 5929406"/>
              <a:gd name="connsiteY6" fmla="*/ 1994357 h 6971246"/>
              <a:gd name="connsiteX0" fmla="*/ 0 w 5929406"/>
              <a:gd name="connsiteY0" fmla="*/ 1994357 h 6971246"/>
              <a:gd name="connsiteX1" fmla="*/ 4761402 w 5929406"/>
              <a:gd name="connsiteY1" fmla="*/ 12832 h 6971246"/>
              <a:gd name="connsiteX2" fmla="*/ 5927499 w 5929406"/>
              <a:gd name="connsiteY2" fmla="*/ 2808039 h 6971246"/>
              <a:gd name="connsiteX3" fmla="*/ 5929406 w 5929406"/>
              <a:gd name="connsiteY3" fmla="*/ 5833303 h 6971246"/>
              <a:gd name="connsiteX4" fmla="*/ 4791463 w 5929406"/>
              <a:gd name="connsiteY4" fmla="*/ 6971246 h 6971246"/>
              <a:gd name="connsiteX5" fmla="*/ 2025802 w 5929406"/>
              <a:gd name="connsiteY5" fmla="*/ 6967159 h 6971246"/>
              <a:gd name="connsiteX6" fmla="*/ 0 w 5929406"/>
              <a:gd name="connsiteY6" fmla="*/ 1994357 h 6971246"/>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1981525 h 6958414"/>
              <a:gd name="connsiteX1" fmla="*/ 4761402 w 5929406"/>
              <a:gd name="connsiteY1" fmla="*/ 0 h 6958414"/>
              <a:gd name="connsiteX2" fmla="*/ 5927499 w 5929406"/>
              <a:gd name="connsiteY2" fmla="*/ 2795207 h 6958414"/>
              <a:gd name="connsiteX3" fmla="*/ 5929406 w 5929406"/>
              <a:gd name="connsiteY3" fmla="*/ 5820471 h 6958414"/>
              <a:gd name="connsiteX4" fmla="*/ 4791463 w 5929406"/>
              <a:gd name="connsiteY4" fmla="*/ 6958414 h 6958414"/>
              <a:gd name="connsiteX5" fmla="*/ 2025802 w 5929406"/>
              <a:gd name="connsiteY5" fmla="*/ 6954327 h 6958414"/>
              <a:gd name="connsiteX6" fmla="*/ 0 w 5929406"/>
              <a:gd name="connsiteY6" fmla="*/ 1981525 h 6958414"/>
              <a:gd name="connsiteX0" fmla="*/ 0 w 5929406"/>
              <a:gd name="connsiteY0" fmla="*/ 2373481 h 7350370"/>
              <a:gd name="connsiteX1" fmla="*/ 4589452 w 5929406"/>
              <a:gd name="connsiteY1" fmla="*/ 0 h 7350370"/>
              <a:gd name="connsiteX2" fmla="*/ 5927499 w 5929406"/>
              <a:gd name="connsiteY2" fmla="*/ 3187163 h 7350370"/>
              <a:gd name="connsiteX3" fmla="*/ 5929406 w 5929406"/>
              <a:gd name="connsiteY3" fmla="*/ 6212427 h 7350370"/>
              <a:gd name="connsiteX4" fmla="*/ 4791463 w 5929406"/>
              <a:gd name="connsiteY4" fmla="*/ 7350370 h 7350370"/>
              <a:gd name="connsiteX5" fmla="*/ 2025802 w 5929406"/>
              <a:gd name="connsiteY5" fmla="*/ 7346283 h 7350370"/>
              <a:gd name="connsiteX6" fmla="*/ 0 w 5929406"/>
              <a:gd name="connsiteY6" fmla="*/ 2373481 h 7350370"/>
              <a:gd name="connsiteX0" fmla="*/ 0 w 6122234"/>
              <a:gd name="connsiteY0" fmla="*/ 1931042 h 7350370"/>
              <a:gd name="connsiteX1" fmla="*/ 4782280 w 6122234"/>
              <a:gd name="connsiteY1" fmla="*/ 0 h 7350370"/>
              <a:gd name="connsiteX2" fmla="*/ 6120327 w 6122234"/>
              <a:gd name="connsiteY2" fmla="*/ 3187163 h 7350370"/>
              <a:gd name="connsiteX3" fmla="*/ 6122234 w 6122234"/>
              <a:gd name="connsiteY3" fmla="*/ 6212427 h 7350370"/>
              <a:gd name="connsiteX4" fmla="*/ 4984291 w 6122234"/>
              <a:gd name="connsiteY4" fmla="*/ 7350370 h 7350370"/>
              <a:gd name="connsiteX5" fmla="*/ 2218630 w 6122234"/>
              <a:gd name="connsiteY5" fmla="*/ 7346283 h 7350370"/>
              <a:gd name="connsiteX6" fmla="*/ 0 w 6122234"/>
              <a:gd name="connsiteY6" fmla="*/ 1931042 h 7350370"/>
              <a:gd name="connsiteX0" fmla="*/ 0 w 6122234"/>
              <a:gd name="connsiteY0" fmla="*/ 1931042 h 7350370"/>
              <a:gd name="connsiteX1" fmla="*/ 4782280 w 6122234"/>
              <a:gd name="connsiteY1" fmla="*/ 0 h 7350370"/>
              <a:gd name="connsiteX2" fmla="*/ 6120327 w 6122234"/>
              <a:gd name="connsiteY2" fmla="*/ 3187163 h 7350370"/>
              <a:gd name="connsiteX3" fmla="*/ 6122234 w 6122234"/>
              <a:gd name="connsiteY3" fmla="*/ 6212427 h 7350370"/>
              <a:gd name="connsiteX4" fmla="*/ 4984291 w 6122234"/>
              <a:gd name="connsiteY4" fmla="*/ 7350370 h 7350370"/>
              <a:gd name="connsiteX5" fmla="*/ 2296377 w 6122234"/>
              <a:gd name="connsiteY5" fmla="*/ 7343687 h 7350370"/>
              <a:gd name="connsiteX6" fmla="*/ 0 w 6122234"/>
              <a:gd name="connsiteY6" fmla="*/ 1931042 h 7350370"/>
              <a:gd name="connsiteX0" fmla="*/ 0 w 6059860"/>
              <a:gd name="connsiteY0" fmla="*/ 1915098 h 7350370"/>
              <a:gd name="connsiteX1" fmla="*/ 4719906 w 6059860"/>
              <a:gd name="connsiteY1" fmla="*/ 0 h 7350370"/>
              <a:gd name="connsiteX2" fmla="*/ 6057953 w 6059860"/>
              <a:gd name="connsiteY2" fmla="*/ 3187163 h 7350370"/>
              <a:gd name="connsiteX3" fmla="*/ 6059860 w 6059860"/>
              <a:gd name="connsiteY3" fmla="*/ 6212427 h 7350370"/>
              <a:gd name="connsiteX4" fmla="*/ 4921917 w 6059860"/>
              <a:gd name="connsiteY4" fmla="*/ 7350370 h 7350370"/>
              <a:gd name="connsiteX5" fmla="*/ 2234003 w 6059860"/>
              <a:gd name="connsiteY5" fmla="*/ 7343687 h 7350370"/>
              <a:gd name="connsiteX6" fmla="*/ 0 w 6059860"/>
              <a:gd name="connsiteY6" fmla="*/ 1915098 h 7350370"/>
              <a:gd name="connsiteX0" fmla="*/ 0 w 6059860"/>
              <a:gd name="connsiteY0" fmla="*/ 1915098 h 7350370"/>
              <a:gd name="connsiteX1" fmla="*/ 4719906 w 6059860"/>
              <a:gd name="connsiteY1" fmla="*/ 0 h 7350370"/>
              <a:gd name="connsiteX2" fmla="*/ 6057466 w 6059860"/>
              <a:gd name="connsiteY2" fmla="*/ 1709576 h 7350370"/>
              <a:gd name="connsiteX3" fmla="*/ 6059860 w 6059860"/>
              <a:gd name="connsiteY3" fmla="*/ 6212427 h 7350370"/>
              <a:gd name="connsiteX4" fmla="*/ 4921917 w 6059860"/>
              <a:gd name="connsiteY4" fmla="*/ 7350370 h 7350370"/>
              <a:gd name="connsiteX5" fmla="*/ 2234003 w 6059860"/>
              <a:gd name="connsiteY5" fmla="*/ 7343687 h 7350370"/>
              <a:gd name="connsiteX6" fmla="*/ 0 w 6059860"/>
              <a:gd name="connsiteY6" fmla="*/ 1915098 h 7350370"/>
              <a:gd name="connsiteX0" fmla="*/ 0 w 6087389"/>
              <a:gd name="connsiteY0" fmla="*/ 825255 h 6260527"/>
              <a:gd name="connsiteX1" fmla="*/ 5807752 w 6087389"/>
              <a:gd name="connsiteY1" fmla="*/ 0 h 6260527"/>
              <a:gd name="connsiteX2" fmla="*/ 6057466 w 6087389"/>
              <a:gd name="connsiteY2" fmla="*/ 619733 h 6260527"/>
              <a:gd name="connsiteX3" fmla="*/ 6059860 w 6087389"/>
              <a:gd name="connsiteY3" fmla="*/ 5122584 h 6260527"/>
              <a:gd name="connsiteX4" fmla="*/ 4921917 w 6087389"/>
              <a:gd name="connsiteY4" fmla="*/ 6260527 h 6260527"/>
              <a:gd name="connsiteX5" fmla="*/ 2234003 w 6087389"/>
              <a:gd name="connsiteY5" fmla="*/ 6253844 h 6260527"/>
              <a:gd name="connsiteX6" fmla="*/ 0 w 6087389"/>
              <a:gd name="connsiteY6" fmla="*/ 825255 h 6260527"/>
              <a:gd name="connsiteX0" fmla="*/ 0 w 5483960"/>
              <a:gd name="connsiteY0" fmla="*/ 2177375 h 6260527"/>
              <a:gd name="connsiteX1" fmla="*/ 5204323 w 5483960"/>
              <a:gd name="connsiteY1" fmla="*/ 0 h 6260527"/>
              <a:gd name="connsiteX2" fmla="*/ 5454037 w 5483960"/>
              <a:gd name="connsiteY2" fmla="*/ 619733 h 6260527"/>
              <a:gd name="connsiteX3" fmla="*/ 5456431 w 5483960"/>
              <a:gd name="connsiteY3" fmla="*/ 5122584 h 6260527"/>
              <a:gd name="connsiteX4" fmla="*/ 4318488 w 5483960"/>
              <a:gd name="connsiteY4" fmla="*/ 6260527 h 6260527"/>
              <a:gd name="connsiteX5" fmla="*/ 1630574 w 5483960"/>
              <a:gd name="connsiteY5" fmla="*/ 6253844 h 6260527"/>
              <a:gd name="connsiteX6" fmla="*/ 0 w 5483960"/>
              <a:gd name="connsiteY6" fmla="*/ 2177375 h 6260527"/>
              <a:gd name="connsiteX0" fmla="*/ 0 w 5483960"/>
              <a:gd name="connsiteY0" fmla="*/ 2177375 h 6260527"/>
              <a:gd name="connsiteX1" fmla="*/ 5204323 w 5483960"/>
              <a:gd name="connsiteY1" fmla="*/ 0 h 6260527"/>
              <a:gd name="connsiteX2" fmla="*/ 5454037 w 5483960"/>
              <a:gd name="connsiteY2" fmla="*/ 619733 h 6260527"/>
              <a:gd name="connsiteX3" fmla="*/ 5456431 w 5483960"/>
              <a:gd name="connsiteY3" fmla="*/ 5122584 h 6260527"/>
              <a:gd name="connsiteX4" fmla="*/ 4318488 w 5483960"/>
              <a:gd name="connsiteY4" fmla="*/ 6260527 h 6260527"/>
              <a:gd name="connsiteX5" fmla="*/ 2081589 w 5483960"/>
              <a:gd name="connsiteY5" fmla="*/ 6253152 h 6260527"/>
              <a:gd name="connsiteX6" fmla="*/ 0 w 5483960"/>
              <a:gd name="connsiteY6" fmla="*/ 2177375 h 6260527"/>
              <a:gd name="connsiteX0" fmla="*/ 0 w 5135049"/>
              <a:gd name="connsiteY0" fmla="*/ 2015381 h 6260527"/>
              <a:gd name="connsiteX1" fmla="*/ 4855412 w 5135049"/>
              <a:gd name="connsiteY1" fmla="*/ 0 h 6260527"/>
              <a:gd name="connsiteX2" fmla="*/ 5105126 w 5135049"/>
              <a:gd name="connsiteY2" fmla="*/ 619733 h 6260527"/>
              <a:gd name="connsiteX3" fmla="*/ 5107520 w 5135049"/>
              <a:gd name="connsiteY3" fmla="*/ 5122584 h 6260527"/>
              <a:gd name="connsiteX4" fmla="*/ 3969577 w 5135049"/>
              <a:gd name="connsiteY4" fmla="*/ 6260527 h 6260527"/>
              <a:gd name="connsiteX5" fmla="*/ 1732678 w 5135049"/>
              <a:gd name="connsiteY5" fmla="*/ 6253152 h 6260527"/>
              <a:gd name="connsiteX6" fmla="*/ 0 w 5135049"/>
              <a:gd name="connsiteY6" fmla="*/ 2015381 h 626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5049" h="6260527">
                <a:moveTo>
                  <a:pt x="0" y="2015381"/>
                </a:moveTo>
                <a:lnTo>
                  <a:pt x="4855412" y="0"/>
                </a:lnTo>
                <a:cubicBezTo>
                  <a:pt x="5264667" y="956391"/>
                  <a:pt x="5103446" y="625246"/>
                  <a:pt x="5105126" y="619733"/>
                </a:cubicBezTo>
                <a:cubicBezTo>
                  <a:pt x="5105762" y="1628154"/>
                  <a:pt x="5106884" y="4114163"/>
                  <a:pt x="5107520" y="5122584"/>
                </a:cubicBezTo>
                <a:cubicBezTo>
                  <a:pt x="5107520" y="5751053"/>
                  <a:pt x="4598046" y="6260527"/>
                  <a:pt x="3969577" y="6260527"/>
                </a:cubicBezTo>
                <a:lnTo>
                  <a:pt x="1732678" y="6253152"/>
                </a:lnTo>
                <a:cubicBezTo>
                  <a:pt x="1732247" y="6232921"/>
                  <a:pt x="1012901" y="4501782"/>
                  <a:pt x="0" y="2015381"/>
                </a:cubicBezTo>
                <a:close/>
              </a:path>
            </a:pathLst>
          </a:custGeom>
          <a:gradFill flip="none" rotWithShape="1">
            <a:gsLst>
              <a:gs pos="0">
                <a:schemeClr val="accent6">
                  <a:lumMod val="60000"/>
                  <a:lumOff val="40000"/>
                </a:schemeClr>
              </a:gs>
              <a:gs pos="49000">
                <a:schemeClr val="accent6"/>
              </a:gs>
              <a:gs pos="100000">
                <a:schemeClr val="accent6">
                  <a:lumMod val="75000"/>
                </a:schemeClr>
              </a:gs>
            </a:gsLst>
            <a:lin ang="4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TT Commons Pro" panose="020B0103030102020204" pitchFamily="34" charset="77"/>
            </a:endParaRPr>
          </a:p>
        </p:txBody>
      </p:sp>
      <p:sp>
        <p:nvSpPr>
          <p:cNvPr id="2" name="Title 1">
            <a:extLst>
              <a:ext uri="{FF2B5EF4-FFF2-40B4-BE49-F238E27FC236}">
                <a16:creationId xmlns:a16="http://schemas.microsoft.com/office/drawing/2014/main" id="{D8B0B426-1FF5-D64E-93FB-D0936F8EDA1F}"/>
              </a:ext>
            </a:extLst>
          </p:cNvPr>
          <p:cNvSpPr>
            <a:spLocks noGrp="1"/>
          </p:cNvSpPr>
          <p:nvPr>
            <p:ph type="ctrTitle" hasCustomPrompt="1"/>
          </p:nvPr>
        </p:nvSpPr>
        <p:spPr>
          <a:xfrm>
            <a:off x="6265341" y="3091386"/>
            <a:ext cx="5283200" cy="712447"/>
          </a:xfrm>
        </p:spPr>
        <p:txBody>
          <a:bodyPr anchor="ctr">
            <a:noAutofit/>
          </a:bodyPr>
          <a:lstStyle>
            <a:lvl1pPr algn="r">
              <a:defRPr sz="6400">
                <a:solidFill>
                  <a:schemeClr val="tx1"/>
                </a:solidFill>
              </a:defRPr>
            </a:lvl1pPr>
          </a:lstStyle>
          <a:p>
            <a:r>
              <a:rPr lang="en-US"/>
              <a:t>Thank you</a:t>
            </a:r>
          </a:p>
        </p:txBody>
      </p:sp>
      <p:pic>
        <p:nvPicPr>
          <p:cNvPr id="11" name="Picture 10">
            <a:extLst>
              <a:ext uri="{FF2B5EF4-FFF2-40B4-BE49-F238E27FC236}">
                <a16:creationId xmlns:a16="http://schemas.microsoft.com/office/drawing/2014/main" id="{A4140D04-AB0E-E84D-BA50-6271B81A2D96}"/>
              </a:ext>
            </a:extLst>
          </p:cNvPr>
          <p:cNvPicPr>
            <a:picLocks noChangeAspect="1"/>
          </p:cNvPicPr>
          <p:nvPr userDrawn="1"/>
        </p:nvPicPr>
        <p:blipFill>
          <a:blip r:embed="rId2"/>
          <a:srcRect/>
          <a:stretch/>
        </p:blipFill>
        <p:spPr>
          <a:xfrm>
            <a:off x="3474416" y="3136009"/>
            <a:ext cx="2965021" cy="588799"/>
          </a:xfrm>
          <a:prstGeom prst="rect">
            <a:avLst/>
          </a:prstGeom>
        </p:spPr>
      </p:pic>
    </p:spTree>
    <p:extLst>
      <p:ext uri="{BB962C8B-B14F-4D97-AF65-F5344CB8AC3E}">
        <p14:creationId xmlns:p14="http://schemas.microsoft.com/office/powerpoint/2010/main" val="17246929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600671" y="5929933"/>
            <a:ext cx="10985501" cy="318489"/>
          </a:xfrm>
          <a:prstGeom prst="rect">
            <a:avLst/>
          </a:prstGeom>
        </p:spPr>
        <p:txBody>
          <a:bodyPr lIns="45719" tIns="45719" rIns="45719" bIns="45719"/>
          <a:lstStyle>
            <a:lvl1pPr marL="0" indent="0" defTabSz="412740">
              <a:lnSpc>
                <a:spcPct val="100000"/>
              </a:lnSpc>
              <a:spcBef>
                <a:spcPts val="0"/>
              </a:spcBef>
              <a:buSzTx/>
              <a:buNone/>
              <a:defRPr sz="1800" b="1"/>
            </a:lvl1pPr>
          </a:lstStyle>
          <a:p>
            <a:r>
              <a:t>Author and Date</a:t>
            </a:r>
          </a:p>
        </p:txBody>
      </p:sp>
      <p:sp>
        <p:nvSpPr>
          <p:cNvPr id="12" name="Presentation Title"/>
          <p:cNvSpPr txBox="1">
            <a:spLocks noGrp="1"/>
          </p:cNvSpPr>
          <p:nvPr>
            <p:ph type="title" hasCustomPrompt="1"/>
          </p:nvPr>
        </p:nvSpPr>
        <p:spPr>
          <a:xfrm>
            <a:off x="603249" y="1287497"/>
            <a:ext cx="10985503" cy="2324100"/>
          </a:xfrm>
          <a:prstGeom prst="rect">
            <a:avLst/>
          </a:prstGeom>
        </p:spPr>
        <p:txBody>
          <a:bodyPr anchor="b"/>
          <a:lstStyle>
            <a:lvl1pPr>
              <a:defRPr sz="5800" spc="-116"/>
            </a:lvl1pPr>
          </a:lstStyle>
          <a:p>
            <a:r>
              <a:t>Presentation Title</a:t>
            </a:r>
          </a:p>
        </p:txBody>
      </p:sp>
      <p:sp>
        <p:nvSpPr>
          <p:cNvPr id="13" name="Body Level One…"/>
          <p:cNvSpPr txBox="1">
            <a:spLocks noGrp="1"/>
          </p:cNvSpPr>
          <p:nvPr>
            <p:ph type="body" sz="quarter" idx="1" hasCustomPrompt="1"/>
          </p:nvPr>
        </p:nvSpPr>
        <p:spPr>
          <a:xfrm>
            <a:off x="600673" y="3611597"/>
            <a:ext cx="10985500" cy="952500"/>
          </a:xfrm>
          <a:prstGeom prst="rect">
            <a:avLst/>
          </a:prstGeom>
        </p:spPr>
        <p:txBody>
          <a:bodyPr/>
          <a:lstStyle>
            <a:lvl1pPr marL="0" indent="0" defTabSz="412740">
              <a:lnSpc>
                <a:spcPct val="100000"/>
              </a:lnSpc>
              <a:spcBef>
                <a:spcPts val="0"/>
              </a:spcBef>
              <a:buSzTx/>
              <a:buNone/>
              <a:defRPr sz="2751" b="1"/>
            </a:lvl1pPr>
            <a:lvl2pPr marL="0" indent="228594" defTabSz="412740">
              <a:lnSpc>
                <a:spcPct val="100000"/>
              </a:lnSpc>
              <a:spcBef>
                <a:spcPts val="0"/>
              </a:spcBef>
              <a:buSzTx/>
              <a:buNone/>
              <a:defRPr sz="2751" b="1"/>
            </a:lvl2pPr>
            <a:lvl3pPr marL="0" indent="457189" defTabSz="412740">
              <a:lnSpc>
                <a:spcPct val="100000"/>
              </a:lnSpc>
              <a:spcBef>
                <a:spcPts val="0"/>
              </a:spcBef>
              <a:buSzTx/>
              <a:buNone/>
              <a:defRPr sz="2751" b="1"/>
            </a:lvl3pPr>
            <a:lvl4pPr marL="0" indent="685783" defTabSz="412740">
              <a:lnSpc>
                <a:spcPct val="100000"/>
              </a:lnSpc>
              <a:spcBef>
                <a:spcPts val="0"/>
              </a:spcBef>
              <a:buSzTx/>
              <a:buNone/>
              <a:defRPr sz="2751" b="1"/>
            </a:lvl4pPr>
            <a:lvl5pPr marL="0" indent="914377" defTabSz="412740">
              <a:lnSpc>
                <a:spcPct val="100000"/>
              </a:lnSpc>
              <a:spcBef>
                <a:spcPts val="0"/>
              </a:spcBef>
              <a:buSzTx/>
              <a:buNone/>
              <a:defRPr sz="2751" b="1"/>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35620944"/>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1_Photo Right +Content">
    <p:bg>
      <p:bgPr>
        <a:gradFill rotWithShape="1">
          <a:gsLst>
            <a:gs pos="0">
              <a:schemeClr val="bg2">
                <a:tint val="93000"/>
                <a:satMod val="150000"/>
                <a:shade val="98000"/>
                <a:lumMod val="102000"/>
              </a:schemeClr>
            </a:gs>
            <a:gs pos="50000">
              <a:schemeClr val="bg2">
                <a:tint val="98000"/>
                <a:satMod val="130000"/>
                <a:shade val="90000"/>
                <a:lumMod val="103000"/>
              </a:schemeClr>
            </a:gs>
            <a:gs pos="100000">
              <a:schemeClr val="bg2">
                <a:shade val="63000"/>
                <a:satMod val="120000"/>
              </a:schemeClr>
            </a:gs>
          </a:gsLst>
          <a:lin ang="5400000" scaled="0"/>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F7C38A-14B9-1BD5-2F04-1496DC664E4D}"/>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FFF7C38A-14B9-1BD5-2F04-1496DC664E4D}"/>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BC38C59D-D341-9F4B-9A26-6A7B31DA3E8C}"/>
              </a:ext>
            </a:extLst>
          </p:cNvPr>
          <p:cNvSpPr>
            <a:spLocks noGrp="1"/>
          </p:cNvSpPr>
          <p:nvPr>
            <p:ph type="pic" sz="quarter" idx="13"/>
          </p:nvPr>
        </p:nvSpPr>
        <p:spPr>
          <a:xfrm>
            <a:off x="6362279" y="-116111"/>
            <a:ext cx="6156084" cy="7151259"/>
          </a:xfrm>
          <a:custGeom>
            <a:avLst/>
            <a:gdLst>
              <a:gd name="connsiteX0" fmla="*/ 0 w 6067663"/>
              <a:gd name="connsiteY0" fmla="*/ 1682684 h 6288500"/>
              <a:gd name="connsiteX1" fmla="*/ 1682684 w 6067663"/>
              <a:gd name="connsiteY1" fmla="*/ 0 h 6288500"/>
              <a:gd name="connsiteX2" fmla="*/ 4384979 w 6067663"/>
              <a:gd name="connsiteY2" fmla="*/ 0 h 6288500"/>
              <a:gd name="connsiteX3" fmla="*/ 6067663 w 6067663"/>
              <a:gd name="connsiteY3" fmla="*/ 1682684 h 6288500"/>
              <a:gd name="connsiteX4" fmla="*/ 6067663 w 6067663"/>
              <a:gd name="connsiteY4" fmla="*/ 4605816 h 6288500"/>
              <a:gd name="connsiteX5" fmla="*/ 4384979 w 6067663"/>
              <a:gd name="connsiteY5" fmla="*/ 6288500 h 6288500"/>
              <a:gd name="connsiteX6" fmla="*/ 1682684 w 6067663"/>
              <a:gd name="connsiteY6" fmla="*/ 6288500 h 6288500"/>
              <a:gd name="connsiteX7" fmla="*/ 0 w 6067663"/>
              <a:gd name="connsiteY7" fmla="*/ 4605816 h 6288500"/>
              <a:gd name="connsiteX8" fmla="*/ 0 w 6067663"/>
              <a:gd name="connsiteY8" fmla="*/ 1682684 h 6288500"/>
              <a:gd name="connsiteX0" fmla="*/ 0 w 6335887"/>
              <a:gd name="connsiteY0" fmla="*/ 2414204 h 6288500"/>
              <a:gd name="connsiteX1" fmla="*/ 1950908 w 6335887"/>
              <a:gd name="connsiteY1" fmla="*/ 0 h 6288500"/>
              <a:gd name="connsiteX2" fmla="*/ 4653203 w 6335887"/>
              <a:gd name="connsiteY2" fmla="*/ 0 h 6288500"/>
              <a:gd name="connsiteX3" fmla="*/ 6335887 w 6335887"/>
              <a:gd name="connsiteY3" fmla="*/ 1682684 h 6288500"/>
              <a:gd name="connsiteX4" fmla="*/ 6335887 w 6335887"/>
              <a:gd name="connsiteY4" fmla="*/ 4605816 h 6288500"/>
              <a:gd name="connsiteX5" fmla="*/ 4653203 w 6335887"/>
              <a:gd name="connsiteY5" fmla="*/ 6288500 h 6288500"/>
              <a:gd name="connsiteX6" fmla="*/ 1950908 w 6335887"/>
              <a:gd name="connsiteY6" fmla="*/ 6288500 h 6288500"/>
              <a:gd name="connsiteX7" fmla="*/ 268224 w 6335887"/>
              <a:gd name="connsiteY7" fmla="*/ 4605816 h 6288500"/>
              <a:gd name="connsiteX8" fmla="*/ 0 w 6335887"/>
              <a:gd name="connsiteY8" fmla="*/ 2414204 h 6288500"/>
              <a:gd name="connsiteX0" fmla="*/ 0 w 6335887"/>
              <a:gd name="connsiteY0" fmla="*/ 2414204 h 6288500"/>
              <a:gd name="connsiteX1" fmla="*/ 1719260 w 6335887"/>
              <a:gd name="connsiteY1" fmla="*/ 341376 h 6288500"/>
              <a:gd name="connsiteX2" fmla="*/ 4653203 w 6335887"/>
              <a:gd name="connsiteY2" fmla="*/ 0 h 6288500"/>
              <a:gd name="connsiteX3" fmla="*/ 6335887 w 6335887"/>
              <a:gd name="connsiteY3" fmla="*/ 1682684 h 6288500"/>
              <a:gd name="connsiteX4" fmla="*/ 6335887 w 6335887"/>
              <a:gd name="connsiteY4" fmla="*/ 4605816 h 6288500"/>
              <a:gd name="connsiteX5" fmla="*/ 4653203 w 6335887"/>
              <a:gd name="connsiteY5" fmla="*/ 6288500 h 6288500"/>
              <a:gd name="connsiteX6" fmla="*/ 1950908 w 6335887"/>
              <a:gd name="connsiteY6" fmla="*/ 6288500 h 6288500"/>
              <a:gd name="connsiteX7" fmla="*/ 268224 w 6335887"/>
              <a:gd name="connsiteY7" fmla="*/ 4605816 h 6288500"/>
              <a:gd name="connsiteX8" fmla="*/ 0 w 6335887"/>
              <a:gd name="connsiteY8" fmla="*/ 2414204 h 6288500"/>
              <a:gd name="connsiteX0" fmla="*/ 0 w 6335887"/>
              <a:gd name="connsiteY0" fmla="*/ 2414204 h 6288500"/>
              <a:gd name="connsiteX1" fmla="*/ 1719260 w 6335887"/>
              <a:gd name="connsiteY1" fmla="*/ 341376 h 6288500"/>
              <a:gd name="connsiteX2" fmla="*/ 4653203 w 6335887"/>
              <a:gd name="connsiteY2" fmla="*/ 0 h 6288500"/>
              <a:gd name="connsiteX3" fmla="*/ 6335887 w 6335887"/>
              <a:gd name="connsiteY3" fmla="*/ 1682684 h 6288500"/>
              <a:gd name="connsiteX4" fmla="*/ 6335887 w 6335887"/>
              <a:gd name="connsiteY4" fmla="*/ 4605816 h 6288500"/>
              <a:gd name="connsiteX5" fmla="*/ 4653203 w 6335887"/>
              <a:gd name="connsiteY5" fmla="*/ 6288500 h 6288500"/>
              <a:gd name="connsiteX6" fmla="*/ 1950908 w 6335887"/>
              <a:gd name="connsiteY6" fmla="*/ 6288500 h 6288500"/>
              <a:gd name="connsiteX7" fmla="*/ 682752 w 6335887"/>
              <a:gd name="connsiteY7" fmla="*/ 4959384 h 6288500"/>
              <a:gd name="connsiteX8" fmla="*/ 0 w 6335887"/>
              <a:gd name="connsiteY8" fmla="*/ 2414204 h 6288500"/>
              <a:gd name="connsiteX0" fmla="*/ 0 w 6335887"/>
              <a:gd name="connsiteY0" fmla="*/ 2414204 h 6288500"/>
              <a:gd name="connsiteX1" fmla="*/ 1719260 w 6335887"/>
              <a:gd name="connsiteY1" fmla="*/ 341376 h 6288500"/>
              <a:gd name="connsiteX2" fmla="*/ 4653203 w 6335887"/>
              <a:gd name="connsiteY2" fmla="*/ 0 h 6288500"/>
              <a:gd name="connsiteX3" fmla="*/ 6335887 w 6335887"/>
              <a:gd name="connsiteY3" fmla="*/ 1682684 h 6288500"/>
              <a:gd name="connsiteX4" fmla="*/ 6335887 w 6335887"/>
              <a:gd name="connsiteY4" fmla="*/ 4605816 h 6288500"/>
              <a:gd name="connsiteX5" fmla="*/ 4653203 w 6335887"/>
              <a:gd name="connsiteY5" fmla="*/ 6288500 h 6288500"/>
              <a:gd name="connsiteX6" fmla="*/ 1950908 w 6335887"/>
              <a:gd name="connsiteY6" fmla="*/ 6288500 h 6288500"/>
              <a:gd name="connsiteX7" fmla="*/ 682752 w 6335887"/>
              <a:gd name="connsiteY7" fmla="*/ 4959384 h 6288500"/>
              <a:gd name="connsiteX8" fmla="*/ 0 w 6335887"/>
              <a:gd name="connsiteY8" fmla="*/ 2414204 h 6288500"/>
              <a:gd name="connsiteX0" fmla="*/ 0 w 6335887"/>
              <a:gd name="connsiteY0" fmla="*/ 2609276 h 6483572"/>
              <a:gd name="connsiteX1" fmla="*/ 1719260 w 6335887"/>
              <a:gd name="connsiteY1" fmla="*/ 536448 h 6483572"/>
              <a:gd name="connsiteX2" fmla="*/ 3287699 w 6335887"/>
              <a:gd name="connsiteY2" fmla="*/ 0 h 6483572"/>
              <a:gd name="connsiteX3" fmla="*/ 6335887 w 6335887"/>
              <a:gd name="connsiteY3" fmla="*/ 1877756 h 6483572"/>
              <a:gd name="connsiteX4" fmla="*/ 6335887 w 6335887"/>
              <a:gd name="connsiteY4" fmla="*/ 4800888 h 6483572"/>
              <a:gd name="connsiteX5" fmla="*/ 4653203 w 6335887"/>
              <a:gd name="connsiteY5" fmla="*/ 6483572 h 6483572"/>
              <a:gd name="connsiteX6" fmla="*/ 1950908 w 6335887"/>
              <a:gd name="connsiteY6" fmla="*/ 6483572 h 6483572"/>
              <a:gd name="connsiteX7" fmla="*/ 682752 w 6335887"/>
              <a:gd name="connsiteY7" fmla="*/ 5154456 h 6483572"/>
              <a:gd name="connsiteX8" fmla="*/ 0 w 6335887"/>
              <a:gd name="connsiteY8" fmla="*/ 2609276 h 6483572"/>
              <a:gd name="connsiteX0" fmla="*/ 0 w 6335887"/>
              <a:gd name="connsiteY0" fmla="*/ 2609276 h 6483572"/>
              <a:gd name="connsiteX1" fmla="*/ 1682684 w 6335887"/>
              <a:gd name="connsiteY1" fmla="*/ 499872 h 6483572"/>
              <a:gd name="connsiteX2" fmla="*/ 3287699 w 6335887"/>
              <a:gd name="connsiteY2" fmla="*/ 0 h 6483572"/>
              <a:gd name="connsiteX3" fmla="*/ 6335887 w 6335887"/>
              <a:gd name="connsiteY3" fmla="*/ 1877756 h 6483572"/>
              <a:gd name="connsiteX4" fmla="*/ 6335887 w 6335887"/>
              <a:gd name="connsiteY4" fmla="*/ 4800888 h 6483572"/>
              <a:gd name="connsiteX5" fmla="*/ 4653203 w 6335887"/>
              <a:gd name="connsiteY5" fmla="*/ 6483572 h 6483572"/>
              <a:gd name="connsiteX6" fmla="*/ 1950908 w 6335887"/>
              <a:gd name="connsiteY6" fmla="*/ 6483572 h 6483572"/>
              <a:gd name="connsiteX7" fmla="*/ 682752 w 6335887"/>
              <a:gd name="connsiteY7" fmla="*/ 5154456 h 6483572"/>
              <a:gd name="connsiteX8" fmla="*/ 0 w 6335887"/>
              <a:gd name="connsiteY8" fmla="*/ 2609276 h 6483572"/>
              <a:gd name="connsiteX0" fmla="*/ 0 w 6335887"/>
              <a:gd name="connsiteY0" fmla="*/ 2706812 h 6581108"/>
              <a:gd name="connsiteX1" fmla="*/ 1682684 w 6335887"/>
              <a:gd name="connsiteY1" fmla="*/ 597408 h 6581108"/>
              <a:gd name="connsiteX2" fmla="*/ 3811955 w 6335887"/>
              <a:gd name="connsiteY2" fmla="*/ 0 h 6581108"/>
              <a:gd name="connsiteX3" fmla="*/ 6335887 w 6335887"/>
              <a:gd name="connsiteY3" fmla="*/ 1975292 h 6581108"/>
              <a:gd name="connsiteX4" fmla="*/ 6335887 w 6335887"/>
              <a:gd name="connsiteY4" fmla="*/ 4898424 h 6581108"/>
              <a:gd name="connsiteX5" fmla="*/ 4653203 w 6335887"/>
              <a:gd name="connsiteY5" fmla="*/ 6581108 h 6581108"/>
              <a:gd name="connsiteX6" fmla="*/ 1950908 w 6335887"/>
              <a:gd name="connsiteY6" fmla="*/ 6581108 h 6581108"/>
              <a:gd name="connsiteX7" fmla="*/ 682752 w 6335887"/>
              <a:gd name="connsiteY7" fmla="*/ 5251992 h 6581108"/>
              <a:gd name="connsiteX8" fmla="*/ 0 w 6335887"/>
              <a:gd name="connsiteY8" fmla="*/ 2706812 h 6581108"/>
              <a:gd name="connsiteX0" fmla="*/ 0 w 6335887"/>
              <a:gd name="connsiteY0" fmla="*/ 2706812 h 6581108"/>
              <a:gd name="connsiteX1" fmla="*/ 1682684 w 6335887"/>
              <a:gd name="connsiteY1" fmla="*/ 597408 h 6581108"/>
              <a:gd name="connsiteX2" fmla="*/ 3811955 w 6335887"/>
              <a:gd name="connsiteY2" fmla="*/ 0 h 6581108"/>
              <a:gd name="connsiteX3" fmla="*/ 6335887 w 6335887"/>
              <a:gd name="connsiteY3" fmla="*/ 1975292 h 6581108"/>
              <a:gd name="connsiteX4" fmla="*/ 6335887 w 6335887"/>
              <a:gd name="connsiteY4" fmla="*/ 4898424 h 6581108"/>
              <a:gd name="connsiteX5" fmla="*/ 4653203 w 6335887"/>
              <a:gd name="connsiteY5" fmla="*/ 6581108 h 6581108"/>
              <a:gd name="connsiteX6" fmla="*/ 1950908 w 6335887"/>
              <a:gd name="connsiteY6" fmla="*/ 6581108 h 6581108"/>
              <a:gd name="connsiteX7" fmla="*/ 682752 w 6335887"/>
              <a:gd name="connsiteY7" fmla="*/ 5251992 h 6581108"/>
              <a:gd name="connsiteX8" fmla="*/ 0 w 6335887"/>
              <a:gd name="connsiteY8" fmla="*/ 2706812 h 6581108"/>
              <a:gd name="connsiteX0" fmla="*/ 35574 w 6371461"/>
              <a:gd name="connsiteY0" fmla="*/ 2706812 h 6581108"/>
              <a:gd name="connsiteX1" fmla="*/ 1718258 w 6371461"/>
              <a:gd name="connsiteY1" fmla="*/ 597408 h 6581108"/>
              <a:gd name="connsiteX2" fmla="*/ 3847529 w 6371461"/>
              <a:gd name="connsiteY2" fmla="*/ 0 h 6581108"/>
              <a:gd name="connsiteX3" fmla="*/ 6371461 w 6371461"/>
              <a:gd name="connsiteY3" fmla="*/ 1975292 h 6581108"/>
              <a:gd name="connsiteX4" fmla="*/ 6371461 w 6371461"/>
              <a:gd name="connsiteY4" fmla="*/ 4898424 h 6581108"/>
              <a:gd name="connsiteX5" fmla="*/ 4688777 w 6371461"/>
              <a:gd name="connsiteY5" fmla="*/ 6581108 h 6581108"/>
              <a:gd name="connsiteX6" fmla="*/ 1986482 w 6371461"/>
              <a:gd name="connsiteY6" fmla="*/ 6581108 h 6581108"/>
              <a:gd name="connsiteX7" fmla="*/ 718326 w 6371461"/>
              <a:gd name="connsiteY7" fmla="*/ 5251992 h 6581108"/>
              <a:gd name="connsiteX8" fmla="*/ 35574 w 6371461"/>
              <a:gd name="connsiteY8" fmla="*/ 2706812 h 6581108"/>
              <a:gd name="connsiteX0" fmla="*/ 35574 w 6371461"/>
              <a:gd name="connsiteY0" fmla="*/ 2706812 h 6581108"/>
              <a:gd name="connsiteX1" fmla="*/ 1718258 w 6371461"/>
              <a:gd name="connsiteY1" fmla="*/ 597408 h 6581108"/>
              <a:gd name="connsiteX2" fmla="*/ 3847529 w 6371461"/>
              <a:gd name="connsiteY2" fmla="*/ 0 h 6581108"/>
              <a:gd name="connsiteX3" fmla="*/ 6371461 w 6371461"/>
              <a:gd name="connsiteY3" fmla="*/ 1975292 h 6581108"/>
              <a:gd name="connsiteX4" fmla="*/ 6371461 w 6371461"/>
              <a:gd name="connsiteY4" fmla="*/ 4898424 h 6581108"/>
              <a:gd name="connsiteX5" fmla="*/ 4688777 w 6371461"/>
              <a:gd name="connsiteY5" fmla="*/ 6581108 h 6581108"/>
              <a:gd name="connsiteX6" fmla="*/ 1986482 w 6371461"/>
              <a:gd name="connsiteY6" fmla="*/ 6581108 h 6581108"/>
              <a:gd name="connsiteX7" fmla="*/ 718326 w 6371461"/>
              <a:gd name="connsiteY7" fmla="*/ 5251992 h 6581108"/>
              <a:gd name="connsiteX8" fmla="*/ 35574 w 6371461"/>
              <a:gd name="connsiteY8" fmla="*/ 2706812 h 6581108"/>
              <a:gd name="connsiteX0" fmla="*/ 27408 w 6363295"/>
              <a:gd name="connsiteY0" fmla="*/ 2706812 h 6581108"/>
              <a:gd name="connsiteX1" fmla="*/ 1710092 w 6363295"/>
              <a:gd name="connsiteY1" fmla="*/ 597408 h 6581108"/>
              <a:gd name="connsiteX2" fmla="*/ 3839363 w 6363295"/>
              <a:gd name="connsiteY2" fmla="*/ 0 h 6581108"/>
              <a:gd name="connsiteX3" fmla="*/ 6363295 w 6363295"/>
              <a:gd name="connsiteY3" fmla="*/ 1975292 h 6581108"/>
              <a:gd name="connsiteX4" fmla="*/ 6363295 w 6363295"/>
              <a:gd name="connsiteY4" fmla="*/ 4898424 h 6581108"/>
              <a:gd name="connsiteX5" fmla="*/ 4680611 w 6363295"/>
              <a:gd name="connsiteY5" fmla="*/ 6581108 h 6581108"/>
              <a:gd name="connsiteX6" fmla="*/ 1978316 w 6363295"/>
              <a:gd name="connsiteY6" fmla="*/ 6581108 h 6581108"/>
              <a:gd name="connsiteX7" fmla="*/ 710160 w 6363295"/>
              <a:gd name="connsiteY7" fmla="*/ 5251992 h 6581108"/>
              <a:gd name="connsiteX8" fmla="*/ 27408 w 6363295"/>
              <a:gd name="connsiteY8" fmla="*/ 2706812 h 6581108"/>
              <a:gd name="connsiteX0" fmla="*/ 45364 w 6381251"/>
              <a:gd name="connsiteY0" fmla="*/ 2706812 h 6581108"/>
              <a:gd name="connsiteX1" fmla="*/ 1728048 w 6381251"/>
              <a:gd name="connsiteY1" fmla="*/ 597408 h 6581108"/>
              <a:gd name="connsiteX2" fmla="*/ 3857319 w 6381251"/>
              <a:gd name="connsiteY2" fmla="*/ 0 h 6581108"/>
              <a:gd name="connsiteX3" fmla="*/ 6381251 w 6381251"/>
              <a:gd name="connsiteY3" fmla="*/ 1975292 h 6581108"/>
              <a:gd name="connsiteX4" fmla="*/ 6381251 w 6381251"/>
              <a:gd name="connsiteY4" fmla="*/ 4898424 h 6581108"/>
              <a:gd name="connsiteX5" fmla="*/ 4698567 w 6381251"/>
              <a:gd name="connsiteY5" fmla="*/ 6581108 h 6581108"/>
              <a:gd name="connsiteX6" fmla="*/ 1996272 w 6381251"/>
              <a:gd name="connsiteY6" fmla="*/ 6581108 h 6581108"/>
              <a:gd name="connsiteX7" fmla="*/ 728116 w 6381251"/>
              <a:gd name="connsiteY7" fmla="*/ 5251992 h 6581108"/>
              <a:gd name="connsiteX8" fmla="*/ 45364 w 6381251"/>
              <a:gd name="connsiteY8" fmla="*/ 2706812 h 6581108"/>
              <a:gd name="connsiteX0" fmla="*/ 45364 w 6381251"/>
              <a:gd name="connsiteY0" fmla="*/ 2706812 h 6581108"/>
              <a:gd name="connsiteX1" fmla="*/ 1728048 w 6381251"/>
              <a:gd name="connsiteY1" fmla="*/ 597408 h 6581108"/>
              <a:gd name="connsiteX2" fmla="*/ 3857319 w 6381251"/>
              <a:gd name="connsiteY2" fmla="*/ 0 h 6581108"/>
              <a:gd name="connsiteX3" fmla="*/ 6381251 w 6381251"/>
              <a:gd name="connsiteY3" fmla="*/ 1975292 h 6581108"/>
              <a:gd name="connsiteX4" fmla="*/ 6381251 w 6381251"/>
              <a:gd name="connsiteY4" fmla="*/ 4898424 h 6581108"/>
              <a:gd name="connsiteX5" fmla="*/ 4698567 w 6381251"/>
              <a:gd name="connsiteY5" fmla="*/ 6581108 h 6581108"/>
              <a:gd name="connsiteX6" fmla="*/ 1996272 w 6381251"/>
              <a:gd name="connsiteY6" fmla="*/ 6581108 h 6581108"/>
              <a:gd name="connsiteX7" fmla="*/ 728116 w 6381251"/>
              <a:gd name="connsiteY7" fmla="*/ 5251992 h 6581108"/>
              <a:gd name="connsiteX8" fmla="*/ 45364 w 6381251"/>
              <a:gd name="connsiteY8" fmla="*/ 2706812 h 6581108"/>
              <a:gd name="connsiteX0" fmla="*/ 45364 w 6381251"/>
              <a:gd name="connsiteY0" fmla="*/ 2706812 h 6581108"/>
              <a:gd name="connsiteX1" fmla="*/ 1728048 w 6381251"/>
              <a:gd name="connsiteY1" fmla="*/ 597408 h 6581108"/>
              <a:gd name="connsiteX2" fmla="*/ 3857319 w 6381251"/>
              <a:gd name="connsiteY2" fmla="*/ 0 h 6581108"/>
              <a:gd name="connsiteX3" fmla="*/ 6381251 w 6381251"/>
              <a:gd name="connsiteY3" fmla="*/ 1975292 h 6581108"/>
              <a:gd name="connsiteX4" fmla="*/ 6381251 w 6381251"/>
              <a:gd name="connsiteY4" fmla="*/ 4898424 h 6581108"/>
              <a:gd name="connsiteX5" fmla="*/ 4698567 w 6381251"/>
              <a:gd name="connsiteY5" fmla="*/ 6581108 h 6581108"/>
              <a:gd name="connsiteX6" fmla="*/ 1996272 w 6381251"/>
              <a:gd name="connsiteY6" fmla="*/ 6581108 h 6581108"/>
              <a:gd name="connsiteX7" fmla="*/ 735204 w 6381251"/>
              <a:gd name="connsiteY7" fmla="*/ 5280345 h 6581108"/>
              <a:gd name="connsiteX8" fmla="*/ 45364 w 6381251"/>
              <a:gd name="connsiteY8" fmla="*/ 2706812 h 6581108"/>
              <a:gd name="connsiteX0" fmla="*/ 45364 w 6381251"/>
              <a:gd name="connsiteY0" fmla="*/ 2706812 h 6581108"/>
              <a:gd name="connsiteX1" fmla="*/ 1728048 w 6381251"/>
              <a:gd name="connsiteY1" fmla="*/ 597408 h 6581108"/>
              <a:gd name="connsiteX2" fmla="*/ 3857319 w 6381251"/>
              <a:gd name="connsiteY2" fmla="*/ 0 h 6581108"/>
              <a:gd name="connsiteX3" fmla="*/ 6381251 w 6381251"/>
              <a:gd name="connsiteY3" fmla="*/ 1975292 h 6581108"/>
              <a:gd name="connsiteX4" fmla="*/ 6381251 w 6381251"/>
              <a:gd name="connsiteY4" fmla="*/ 4898424 h 6581108"/>
              <a:gd name="connsiteX5" fmla="*/ 4698567 w 6381251"/>
              <a:gd name="connsiteY5" fmla="*/ 6581108 h 6581108"/>
              <a:gd name="connsiteX6" fmla="*/ 1996272 w 6381251"/>
              <a:gd name="connsiteY6" fmla="*/ 6581108 h 6581108"/>
              <a:gd name="connsiteX7" fmla="*/ 735204 w 6381251"/>
              <a:gd name="connsiteY7" fmla="*/ 5280345 h 6581108"/>
              <a:gd name="connsiteX8" fmla="*/ 45364 w 6381251"/>
              <a:gd name="connsiteY8" fmla="*/ 2706812 h 6581108"/>
              <a:gd name="connsiteX0" fmla="*/ 66735 w 6402622"/>
              <a:gd name="connsiteY0" fmla="*/ 2706812 h 6581108"/>
              <a:gd name="connsiteX1" fmla="*/ 1749419 w 6402622"/>
              <a:gd name="connsiteY1" fmla="*/ 597408 h 6581108"/>
              <a:gd name="connsiteX2" fmla="*/ 3878690 w 6402622"/>
              <a:gd name="connsiteY2" fmla="*/ 0 h 6581108"/>
              <a:gd name="connsiteX3" fmla="*/ 6402622 w 6402622"/>
              <a:gd name="connsiteY3" fmla="*/ 1975292 h 6581108"/>
              <a:gd name="connsiteX4" fmla="*/ 6402622 w 6402622"/>
              <a:gd name="connsiteY4" fmla="*/ 4898424 h 6581108"/>
              <a:gd name="connsiteX5" fmla="*/ 4719938 w 6402622"/>
              <a:gd name="connsiteY5" fmla="*/ 6581108 h 6581108"/>
              <a:gd name="connsiteX6" fmla="*/ 2017643 w 6402622"/>
              <a:gd name="connsiteY6" fmla="*/ 6581108 h 6581108"/>
              <a:gd name="connsiteX7" fmla="*/ 756575 w 6402622"/>
              <a:gd name="connsiteY7" fmla="*/ 5280345 h 6581108"/>
              <a:gd name="connsiteX8" fmla="*/ 66735 w 6402622"/>
              <a:gd name="connsiteY8" fmla="*/ 2706812 h 6581108"/>
              <a:gd name="connsiteX0" fmla="*/ 100916 w 6436803"/>
              <a:gd name="connsiteY0" fmla="*/ 2706812 h 6581108"/>
              <a:gd name="connsiteX1" fmla="*/ 1783600 w 6436803"/>
              <a:gd name="connsiteY1" fmla="*/ 597408 h 6581108"/>
              <a:gd name="connsiteX2" fmla="*/ 3912871 w 6436803"/>
              <a:gd name="connsiteY2" fmla="*/ 0 h 6581108"/>
              <a:gd name="connsiteX3" fmla="*/ 6436803 w 6436803"/>
              <a:gd name="connsiteY3" fmla="*/ 1975292 h 6581108"/>
              <a:gd name="connsiteX4" fmla="*/ 6436803 w 6436803"/>
              <a:gd name="connsiteY4" fmla="*/ 4898424 h 6581108"/>
              <a:gd name="connsiteX5" fmla="*/ 4754119 w 6436803"/>
              <a:gd name="connsiteY5" fmla="*/ 6581108 h 6581108"/>
              <a:gd name="connsiteX6" fmla="*/ 2051824 w 6436803"/>
              <a:gd name="connsiteY6" fmla="*/ 6581108 h 6581108"/>
              <a:gd name="connsiteX7" fmla="*/ 790756 w 6436803"/>
              <a:gd name="connsiteY7" fmla="*/ 5280345 h 6581108"/>
              <a:gd name="connsiteX8" fmla="*/ 100916 w 6436803"/>
              <a:gd name="connsiteY8" fmla="*/ 2706812 h 6581108"/>
              <a:gd name="connsiteX0" fmla="*/ 64111 w 6399998"/>
              <a:gd name="connsiteY0" fmla="*/ 2706812 h 6581108"/>
              <a:gd name="connsiteX1" fmla="*/ 1746795 w 6399998"/>
              <a:gd name="connsiteY1" fmla="*/ 597408 h 6581108"/>
              <a:gd name="connsiteX2" fmla="*/ 3876066 w 6399998"/>
              <a:gd name="connsiteY2" fmla="*/ 0 h 6581108"/>
              <a:gd name="connsiteX3" fmla="*/ 6399998 w 6399998"/>
              <a:gd name="connsiteY3" fmla="*/ 1975292 h 6581108"/>
              <a:gd name="connsiteX4" fmla="*/ 6399998 w 6399998"/>
              <a:gd name="connsiteY4" fmla="*/ 4898424 h 6581108"/>
              <a:gd name="connsiteX5" fmla="*/ 4717314 w 6399998"/>
              <a:gd name="connsiteY5" fmla="*/ 6581108 h 6581108"/>
              <a:gd name="connsiteX6" fmla="*/ 2015019 w 6399998"/>
              <a:gd name="connsiteY6" fmla="*/ 6581108 h 6581108"/>
              <a:gd name="connsiteX7" fmla="*/ 753951 w 6399998"/>
              <a:gd name="connsiteY7" fmla="*/ 5280345 h 6581108"/>
              <a:gd name="connsiteX8" fmla="*/ 64111 w 6399998"/>
              <a:gd name="connsiteY8" fmla="*/ 2706812 h 6581108"/>
              <a:gd name="connsiteX0" fmla="*/ 77200 w 6413087"/>
              <a:gd name="connsiteY0" fmla="*/ 2706812 h 6581108"/>
              <a:gd name="connsiteX1" fmla="*/ 1589763 w 6413087"/>
              <a:gd name="connsiteY1" fmla="*/ 618673 h 6581108"/>
              <a:gd name="connsiteX2" fmla="*/ 3889155 w 6413087"/>
              <a:gd name="connsiteY2" fmla="*/ 0 h 6581108"/>
              <a:gd name="connsiteX3" fmla="*/ 6413087 w 6413087"/>
              <a:gd name="connsiteY3" fmla="*/ 1975292 h 6581108"/>
              <a:gd name="connsiteX4" fmla="*/ 6413087 w 6413087"/>
              <a:gd name="connsiteY4" fmla="*/ 4898424 h 6581108"/>
              <a:gd name="connsiteX5" fmla="*/ 4730403 w 6413087"/>
              <a:gd name="connsiteY5" fmla="*/ 6581108 h 6581108"/>
              <a:gd name="connsiteX6" fmla="*/ 2028108 w 6413087"/>
              <a:gd name="connsiteY6" fmla="*/ 6581108 h 6581108"/>
              <a:gd name="connsiteX7" fmla="*/ 767040 w 6413087"/>
              <a:gd name="connsiteY7" fmla="*/ 5280345 h 6581108"/>
              <a:gd name="connsiteX8" fmla="*/ 77200 w 6413087"/>
              <a:gd name="connsiteY8" fmla="*/ 2706812 h 6581108"/>
              <a:gd name="connsiteX0" fmla="*/ 86355 w 6422242"/>
              <a:gd name="connsiteY0" fmla="*/ 2706812 h 6581108"/>
              <a:gd name="connsiteX1" fmla="*/ 1506769 w 6422242"/>
              <a:gd name="connsiteY1" fmla="*/ 639939 h 6581108"/>
              <a:gd name="connsiteX2" fmla="*/ 3898310 w 6422242"/>
              <a:gd name="connsiteY2" fmla="*/ 0 h 6581108"/>
              <a:gd name="connsiteX3" fmla="*/ 6422242 w 6422242"/>
              <a:gd name="connsiteY3" fmla="*/ 1975292 h 6581108"/>
              <a:gd name="connsiteX4" fmla="*/ 6422242 w 6422242"/>
              <a:gd name="connsiteY4" fmla="*/ 4898424 h 6581108"/>
              <a:gd name="connsiteX5" fmla="*/ 4739558 w 6422242"/>
              <a:gd name="connsiteY5" fmla="*/ 6581108 h 6581108"/>
              <a:gd name="connsiteX6" fmla="*/ 2037263 w 6422242"/>
              <a:gd name="connsiteY6" fmla="*/ 6581108 h 6581108"/>
              <a:gd name="connsiteX7" fmla="*/ 776195 w 6422242"/>
              <a:gd name="connsiteY7" fmla="*/ 5280345 h 6581108"/>
              <a:gd name="connsiteX8" fmla="*/ 86355 w 6422242"/>
              <a:gd name="connsiteY8" fmla="*/ 2706812 h 6581108"/>
              <a:gd name="connsiteX0" fmla="*/ 52629 w 6388516"/>
              <a:gd name="connsiteY0" fmla="*/ 2706812 h 6581108"/>
              <a:gd name="connsiteX1" fmla="*/ 1473043 w 6388516"/>
              <a:gd name="connsiteY1" fmla="*/ 639939 h 6581108"/>
              <a:gd name="connsiteX2" fmla="*/ 3864584 w 6388516"/>
              <a:gd name="connsiteY2" fmla="*/ 0 h 6581108"/>
              <a:gd name="connsiteX3" fmla="*/ 6388516 w 6388516"/>
              <a:gd name="connsiteY3" fmla="*/ 1975292 h 6581108"/>
              <a:gd name="connsiteX4" fmla="*/ 6388516 w 6388516"/>
              <a:gd name="connsiteY4" fmla="*/ 4898424 h 6581108"/>
              <a:gd name="connsiteX5" fmla="*/ 4705832 w 6388516"/>
              <a:gd name="connsiteY5" fmla="*/ 6581108 h 6581108"/>
              <a:gd name="connsiteX6" fmla="*/ 2003537 w 6388516"/>
              <a:gd name="connsiteY6" fmla="*/ 6581108 h 6581108"/>
              <a:gd name="connsiteX7" fmla="*/ 742469 w 6388516"/>
              <a:gd name="connsiteY7" fmla="*/ 5280345 h 6581108"/>
              <a:gd name="connsiteX8" fmla="*/ 52629 w 6388516"/>
              <a:gd name="connsiteY8" fmla="*/ 2706812 h 6581108"/>
              <a:gd name="connsiteX0" fmla="*/ 52629 w 6388516"/>
              <a:gd name="connsiteY0" fmla="*/ 2837050 h 6711346"/>
              <a:gd name="connsiteX1" fmla="*/ 1473043 w 6388516"/>
              <a:gd name="connsiteY1" fmla="*/ 770177 h 6711346"/>
              <a:gd name="connsiteX2" fmla="*/ 3864584 w 6388516"/>
              <a:gd name="connsiteY2" fmla="*/ 130238 h 6711346"/>
              <a:gd name="connsiteX3" fmla="*/ 5233111 w 6388516"/>
              <a:gd name="connsiteY3" fmla="*/ 567353 h 6711346"/>
              <a:gd name="connsiteX4" fmla="*/ 6388516 w 6388516"/>
              <a:gd name="connsiteY4" fmla="*/ 5028662 h 6711346"/>
              <a:gd name="connsiteX5" fmla="*/ 4705832 w 6388516"/>
              <a:gd name="connsiteY5" fmla="*/ 6711346 h 6711346"/>
              <a:gd name="connsiteX6" fmla="*/ 2003537 w 6388516"/>
              <a:gd name="connsiteY6" fmla="*/ 6711346 h 6711346"/>
              <a:gd name="connsiteX7" fmla="*/ 742469 w 6388516"/>
              <a:gd name="connsiteY7" fmla="*/ 5410583 h 6711346"/>
              <a:gd name="connsiteX8" fmla="*/ 52629 w 6388516"/>
              <a:gd name="connsiteY8" fmla="*/ 2837050 h 6711346"/>
              <a:gd name="connsiteX0" fmla="*/ 52629 w 6388516"/>
              <a:gd name="connsiteY0" fmla="*/ 2706812 h 6581108"/>
              <a:gd name="connsiteX1" fmla="*/ 1473043 w 6388516"/>
              <a:gd name="connsiteY1" fmla="*/ 639939 h 6581108"/>
              <a:gd name="connsiteX2" fmla="*/ 3864584 w 6388516"/>
              <a:gd name="connsiteY2" fmla="*/ 0 h 6581108"/>
              <a:gd name="connsiteX3" fmla="*/ 5233111 w 6388516"/>
              <a:gd name="connsiteY3" fmla="*/ 437115 h 6581108"/>
              <a:gd name="connsiteX4" fmla="*/ 6388516 w 6388516"/>
              <a:gd name="connsiteY4" fmla="*/ 4898424 h 6581108"/>
              <a:gd name="connsiteX5" fmla="*/ 4705832 w 6388516"/>
              <a:gd name="connsiteY5" fmla="*/ 6581108 h 6581108"/>
              <a:gd name="connsiteX6" fmla="*/ 2003537 w 6388516"/>
              <a:gd name="connsiteY6" fmla="*/ 6581108 h 6581108"/>
              <a:gd name="connsiteX7" fmla="*/ 742469 w 6388516"/>
              <a:gd name="connsiteY7" fmla="*/ 5280345 h 6581108"/>
              <a:gd name="connsiteX8" fmla="*/ 52629 w 6388516"/>
              <a:gd name="connsiteY8" fmla="*/ 2706812 h 6581108"/>
              <a:gd name="connsiteX0" fmla="*/ 52629 w 6388516"/>
              <a:gd name="connsiteY0" fmla="*/ 2706812 h 6581108"/>
              <a:gd name="connsiteX1" fmla="*/ 1473043 w 6388516"/>
              <a:gd name="connsiteY1" fmla="*/ 639939 h 6581108"/>
              <a:gd name="connsiteX2" fmla="*/ 3864584 w 6388516"/>
              <a:gd name="connsiteY2" fmla="*/ 0 h 6581108"/>
              <a:gd name="connsiteX3" fmla="*/ 5233111 w 6388516"/>
              <a:gd name="connsiteY3" fmla="*/ 437115 h 6581108"/>
              <a:gd name="connsiteX4" fmla="*/ 6388516 w 6388516"/>
              <a:gd name="connsiteY4" fmla="*/ 4898424 h 6581108"/>
              <a:gd name="connsiteX5" fmla="*/ 4705832 w 6388516"/>
              <a:gd name="connsiteY5" fmla="*/ 6581108 h 6581108"/>
              <a:gd name="connsiteX6" fmla="*/ 2003537 w 6388516"/>
              <a:gd name="connsiteY6" fmla="*/ 6581108 h 6581108"/>
              <a:gd name="connsiteX7" fmla="*/ 742469 w 6388516"/>
              <a:gd name="connsiteY7" fmla="*/ 5280345 h 6581108"/>
              <a:gd name="connsiteX8" fmla="*/ 52629 w 6388516"/>
              <a:gd name="connsiteY8" fmla="*/ 2706812 h 6581108"/>
              <a:gd name="connsiteX0" fmla="*/ 52629 w 6388516"/>
              <a:gd name="connsiteY0" fmla="*/ 2706812 h 6581108"/>
              <a:gd name="connsiteX1" fmla="*/ 1473043 w 6388516"/>
              <a:gd name="connsiteY1" fmla="*/ 639939 h 6581108"/>
              <a:gd name="connsiteX2" fmla="*/ 3864584 w 6388516"/>
              <a:gd name="connsiteY2" fmla="*/ 0 h 6581108"/>
              <a:gd name="connsiteX3" fmla="*/ 5233111 w 6388516"/>
              <a:gd name="connsiteY3" fmla="*/ 437115 h 6581108"/>
              <a:gd name="connsiteX4" fmla="*/ 6388516 w 6388516"/>
              <a:gd name="connsiteY4" fmla="*/ 4898424 h 6581108"/>
              <a:gd name="connsiteX5" fmla="*/ 4705832 w 6388516"/>
              <a:gd name="connsiteY5" fmla="*/ 6581108 h 6581108"/>
              <a:gd name="connsiteX6" fmla="*/ 6150235 w 6388516"/>
              <a:gd name="connsiteY6" fmla="*/ 5333554 h 6581108"/>
              <a:gd name="connsiteX7" fmla="*/ 742469 w 6388516"/>
              <a:gd name="connsiteY7" fmla="*/ 5280345 h 6581108"/>
              <a:gd name="connsiteX8" fmla="*/ 52629 w 6388516"/>
              <a:gd name="connsiteY8" fmla="*/ 2706812 h 6581108"/>
              <a:gd name="connsiteX0" fmla="*/ 52629 w 6687314"/>
              <a:gd name="connsiteY0" fmla="*/ 2706812 h 5707637"/>
              <a:gd name="connsiteX1" fmla="*/ 1473043 w 6687314"/>
              <a:gd name="connsiteY1" fmla="*/ 639939 h 5707637"/>
              <a:gd name="connsiteX2" fmla="*/ 3864584 w 6687314"/>
              <a:gd name="connsiteY2" fmla="*/ 0 h 5707637"/>
              <a:gd name="connsiteX3" fmla="*/ 5233111 w 6687314"/>
              <a:gd name="connsiteY3" fmla="*/ 437115 h 5707637"/>
              <a:gd name="connsiteX4" fmla="*/ 6388516 w 6687314"/>
              <a:gd name="connsiteY4" fmla="*/ 4898424 h 5707637"/>
              <a:gd name="connsiteX5" fmla="*/ 6150235 w 6687314"/>
              <a:gd name="connsiteY5" fmla="*/ 5333554 h 5707637"/>
              <a:gd name="connsiteX6" fmla="*/ 742469 w 6687314"/>
              <a:gd name="connsiteY6" fmla="*/ 5280345 h 5707637"/>
              <a:gd name="connsiteX7" fmla="*/ 52629 w 6687314"/>
              <a:gd name="connsiteY7" fmla="*/ 2706812 h 5707637"/>
              <a:gd name="connsiteX0" fmla="*/ 52629 w 6687314"/>
              <a:gd name="connsiteY0" fmla="*/ 2706812 h 5710994"/>
              <a:gd name="connsiteX1" fmla="*/ 1473043 w 6687314"/>
              <a:gd name="connsiteY1" fmla="*/ 639939 h 5710994"/>
              <a:gd name="connsiteX2" fmla="*/ 3864584 w 6687314"/>
              <a:gd name="connsiteY2" fmla="*/ 0 h 5710994"/>
              <a:gd name="connsiteX3" fmla="*/ 5233111 w 6687314"/>
              <a:gd name="connsiteY3" fmla="*/ 437115 h 5710994"/>
              <a:gd name="connsiteX4" fmla="*/ 6388516 w 6687314"/>
              <a:gd name="connsiteY4" fmla="*/ 4898424 h 5710994"/>
              <a:gd name="connsiteX5" fmla="*/ 6150235 w 6687314"/>
              <a:gd name="connsiteY5" fmla="*/ 5333554 h 5710994"/>
              <a:gd name="connsiteX6" fmla="*/ 742469 w 6687314"/>
              <a:gd name="connsiteY6" fmla="*/ 5280345 h 5710994"/>
              <a:gd name="connsiteX7" fmla="*/ 52629 w 6687314"/>
              <a:gd name="connsiteY7" fmla="*/ 2706812 h 5710994"/>
              <a:gd name="connsiteX0" fmla="*/ 52629 w 6426893"/>
              <a:gd name="connsiteY0" fmla="*/ 2706812 h 5710994"/>
              <a:gd name="connsiteX1" fmla="*/ 1473043 w 6426893"/>
              <a:gd name="connsiteY1" fmla="*/ 639939 h 5710994"/>
              <a:gd name="connsiteX2" fmla="*/ 3864584 w 6426893"/>
              <a:gd name="connsiteY2" fmla="*/ 0 h 5710994"/>
              <a:gd name="connsiteX3" fmla="*/ 5233111 w 6426893"/>
              <a:gd name="connsiteY3" fmla="*/ 437115 h 5710994"/>
              <a:gd name="connsiteX4" fmla="*/ 6388516 w 6426893"/>
              <a:gd name="connsiteY4" fmla="*/ 4898424 h 5710994"/>
              <a:gd name="connsiteX5" fmla="*/ 6150235 w 6426893"/>
              <a:gd name="connsiteY5" fmla="*/ 5333554 h 5710994"/>
              <a:gd name="connsiteX6" fmla="*/ 742469 w 6426893"/>
              <a:gd name="connsiteY6" fmla="*/ 5280345 h 5710994"/>
              <a:gd name="connsiteX7" fmla="*/ 52629 w 6426893"/>
              <a:gd name="connsiteY7" fmla="*/ 2706812 h 5710994"/>
              <a:gd name="connsiteX0" fmla="*/ 52629 w 6388516"/>
              <a:gd name="connsiteY0" fmla="*/ 2706812 h 5710994"/>
              <a:gd name="connsiteX1" fmla="*/ 1473043 w 6388516"/>
              <a:gd name="connsiteY1" fmla="*/ 639939 h 5710994"/>
              <a:gd name="connsiteX2" fmla="*/ 3864584 w 6388516"/>
              <a:gd name="connsiteY2" fmla="*/ 0 h 5710994"/>
              <a:gd name="connsiteX3" fmla="*/ 5233111 w 6388516"/>
              <a:gd name="connsiteY3" fmla="*/ 437115 h 5710994"/>
              <a:gd name="connsiteX4" fmla="*/ 6388516 w 6388516"/>
              <a:gd name="connsiteY4" fmla="*/ 4898424 h 5710994"/>
              <a:gd name="connsiteX5" fmla="*/ 6150235 w 6388516"/>
              <a:gd name="connsiteY5" fmla="*/ 5333554 h 5710994"/>
              <a:gd name="connsiteX6" fmla="*/ 742469 w 6388516"/>
              <a:gd name="connsiteY6" fmla="*/ 5280345 h 5710994"/>
              <a:gd name="connsiteX7" fmla="*/ 52629 w 6388516"/>
              <a:gd name="connsiteY7" fmla="*/ 2706812 h 5710994"/>
              <a:gd name="connsiteX0" fmla="*/ 52629 w 6388516"/>
              <a:gd name="connsiteY0" fmla="*/ 2737529 h 5741711"/>
              <a:gd name="connsiteX1" fmla="*/ 1473043 w 6388516"/>
              <a:gd name="connsiteY1" fmla="*/ 670656 h 5741711"/>
              <a:gd name="connsiteX2" fmla="*/ 3864584 w 6388516"/>
              <a:gd name="connsiteY2" fmla="*/ 30717 h 5741711"/>
              <a:gd name="connsiteX3" fmla="*/ 5374879 w 6388516"/>
              <a:gd name="connsiteY3" fmla="*/ 0 h 5741711"/>
              <a:gd name="connsiteX4" fmla="*/ 6388516 w 6388516"/>
              <a:gd name="connsiteY4" fmla="*/ 4929141 h 5741711"/>
              <a:gd name="connsiteX5" fmla="*/ 6150235 w 6388516"/>
              <a:gd name="connsiteY5" fmla="*/ 5364271 h 5741711"/>
              <a:gd name="connsiteX6" fmla="*/ 742469 w 6388516"/>
              <a:gd name="connsiteY6" fmla="*/ 5311062 h 5741711"/>
              <a:gd name="connsiteX7" fmla="*/ 52629 w 6388516"/>
              <a:gd name="connsiteY7" fmla="*/ 2737529 h 5741711"/>
              <a:gd name="connsiteX0" fmla="*/ 52629 w 6388516"/>
              <a:gd name="connsiteY0" fmla="*/ 2737529 h 5366963"/>
              <a:gd name="connsiteX1" fmla="*/ 1473043 w 6388516"/>
              <a:gd name="connsiteY1" fmla="*/ 670656 h 5366963"/>
              <a:gd name="connsiteX2" fmla="*/ 3864584 w 6388516"/>
              <a:gd name="connsiteY2" fmla="*/ 30717 h 5366963"/>
              <a:gd name="connsiteX3" fmla="*/ 5374879 w 6388516"/>
              <a:gd name="connsiteY3" fmla="*/ 0 h 5366963"/>
              <a:gd name="connsiteX4" fmla="*/ 6388516 w 6388516"/>
              <a:gd name="connsiteY4" fmla="*/ 4929141 h 5366963"/>
              <a:gd name="connsiteX5" fmla="*/ 6150235 w 6388516"/>
              <a:gd name="connsiteY5" fmla="*/ 5364271 h 5366963"/>
              <a:gd name="connsiteX6" fmla="*/ 742469 w 6388516"/>
              <a:gd name="connsiteY6" fmla="*/ 5311062 h 5366963"/>
              <a:gd name="connsiteX7" fmla="*/ 52629 w 6388516"/>
              <a:gd name="connsiteY7" fmla="*/ 2737529 h 5366963"/>
              <a:gd name="connsiteX0" fmla="*/ 52629 w 6388516"/>
              <a:gd name="connsiteY0" fmla="*/ 2737529 h 5323423"/>
              <a:gd name="connsiteX1" fmla="*/ 1473043 w 6388516"/>
              <a:gd name="connsiteY1" fmla="*/ 670656 h 5323423"/>
              <a:gd name="connsiteX2" fmla="*/ 3864584 w 6388516"/>
              <a:gd name="connsiteY2" fmla="*/ 30717 h 5323423"/>
              <a:gd name="connsiteX3" fmla="*/ 5374879 w 6388516"/>
              <a:gd name="connsiteY3" fmla="*/ 0 h 5323423"/>
              <a:gd name="connsiteX4" fmla="*/ 6388516 w 6388516"/>
              <a:gd name="connsiteY4" fmla="*/ 4929141 h 5323423"/>
              <a:gd name="connsiteX5" fmla="*/ 6171500 w 6388516"/>
              <a:gd name="connsiteY5" fmla="*/ 5307564 h 5323423"/>
              <a:gd name="connsiteX6" fmla="*/ 742469 w 6388516"/>
              <a:gd name="connsiteY6" fmla="*/ 5311062 h 5323423"/>
              <a:gd name="connsiteX7" fmla="*/ 52629 w 6388516"/>
              <a:gd name="connsiteY7" fmla="*/ 2737529 h 5323423"/>
              <a:gd name="connsiteX0" fmla="*/ 52629 w 6171557"/>
              <a:gd name="connsiteY0" fmla="*/ 2737529 h 5323423"/>
              <a:gd name="connsiteX1" fmla="*/ 1473043 w 6171557"/>
              <a:gd name="connsiteY1" fmla="*/ 670656 h 5323423"/>
              <a:gd name="connsiteX2" fmla="*/ 3864584 w 6171557"/>
              <a:gd name="connsiteY2" fmla="*/ 30717 h 5323423"/>
              <a:gd name="connsiteX3" fmla="*/ 5374879 w 6171557"/>
              <a:gd name="connsiteY3" fmla="*/ 0 h 5323423"/>
              <a:gd name="connsiteX4" fmla="*/ 6171500 w 6171557"/>
              <a:gd name="connsiteY4" fmla="*/ 5307564 h 5323423"/>
              <a:gd name="connsiteX5" fmla="*/ 742469 w 6171557"/>
              <a:gd name="connsiteY5" fmla="*/ 5311062 h 5323423"/>
              <a:gd name="connsiteX6" fmla="*/ 52629 w 6171557"/>
              <a:gd name="connsiteY6" fmla="*/ 2737529 h 5323423"/>
              <a:gd name="connsiteX0" fmla="*/ 52629 w 6171557"/>
              <a:gd name="connsiteY0" fmla="*/ 2706812 h 5292706"/>
              <a:gd name="connsiteX1" fmla="*/ 1473043 w 6171557"/>
              <a:gd name="connsiteY1" fmla="*/ 639939 h 5292706"/>
              <a:gd name="connsiteX2" fmla="*/ 3864584 w 6171557"/>
              <a:gd name="connsiteY2" fmla="*/ 0 h 5292706"/>
              <a:gd name="connsiteX3" fmla="*/ 5183493 w 6171557"/>
              <a:gd name="connsiteY3" fmla="*/ 25990 h 5292706"/>
              <a:gd name="connsiteX4" fmla="*/ 6171500 w 6171557"/>
              <a:gd name="connsiteY4" fmla="*/ 5276847 h 5292706"/>
              <a:gd name="connsiteX5" fmla="*/ 742469 w 6171557"/>
              <a:gd name="connsiteY5" fmla="*/ 5280345 h 5292706"/>
              <a:gd name="connsiteX6" fmla="*/ 52629 w 6171557"/>
              <a:gd name="connsiteY6" fmla="*/ 2706812 h 5292706"/>
              <a:gd name="connsiteX0" fmla="*/ 52629 w 5250081"/>
              <a:gd name="connsiteY0" fmla="*/ 2706812 h 5295711"/>
              <a:gd name="connsiteX1" fmla="*/ 1473043 w 5250081"/>
              <a:gd name="connsiteY1" fmla="*/ 639939 h 5295711"/>
              <a:gd name="connsiteX2" fmla="*/ 3864584 w 5250081"/>
              <a:gd name="connsiteY2" fmla="*/ 0 h 5295711"/>
              <a:gd name="connsiteX3" fmla="*/ 5183493 w 5250081"/>
              <a:gd name="connsiteY3" fmla="*/ 25990 h 5295711"/>
              <a:gd name="connsiteX4" fmla="*/ 5250012 w 5250081"/>
              <a:gd name="connsiteY4" fmla="*/ 5283936 h 5295711"/>
              <a:gd name="connsiteX5" fmla="*/ 742469 w 5250081"/>
              <a:gd name="connsiteY5" fmla="*/ 5280345 h 5295711"/>
              <a:gd name="connsiteX6" fmla="*/ 52629 w 5250081"/>
              <a:gd name="connsiteY6" fmla="*/ 2706812 h 5295711"/>
              <a:gd name="connsiteX0" fmla="*/ 52629 w 5250081"/>
              <a:gd name="connsiteY0" fmla="*/ 2680822 h 5269721"/>
              <a:gd name="connsiteX1" fmla="*/ 1473043 w 5250081"/>
              <a:gd name="connsiteY1" fmla="*/ 613949 h 5269721"/>
              <a:gd name="connsiteX2" fmla="*/ 3729117 w 5250081"/>
              <a:gd name="connsiteY2" fmla="*/ 7877 h 5269721"/>
              <a:gd name="connsiteX3" fmla="*/ 5183493 w 5250081"/>
              <a:gd name="connsiteY3" fmla="*/ 0 h 5269721"/>
              <a:gd name="connsiteX4" fmla="*/ 5250012 w 5250081"/>
              <a:gd name="connsiteY4" fmla="*/ 5257946 h 5269721"/>
              <a:gd name="connsiteX5" fmla="*/ 742469 w 5250081"/>
              <a:gd name="connsiteY5" fmla="*/ 5254355 h 5269721"/>
              <a:gd name="connsiteX6" fmla="*/ 52629 w 5250081"/>
              <a:gd name="connsiteY6" fmla="*/ 2680822 h 5269721"/>
              <a:gd name="connsiteX0" fmla="*/ 52629 w 5250081"/>
              <a:gd name="connsiteY0" fmla="*/ 2672945 h 5261844"/>
              <a:gd name="connsiteX1" fmla="*/ 1473043 w 5250081"/>
              <a:gd name="connsiteY1" fmla="*/ 606072 h 5261844"/>
              <a:gd name="connsiteX2" fmla="*/ 3729117 w 5250081"/>
              <a:gd name="connsiteY2" fmla="*/ 0 h 5261844"/>
              <a:gd name="connsiteX3" fmla="*/ 4523093 w 5250081"/>
              <a:gd name="connsiteY3" fmla="*/ 590 h 5261844"/>
              <a:gd name="connsiteX4" fmla="*/ 5250012 w 5250081"/>
              <a:gd name="connsiteY4" fmla="*/ 5250069 h 5261844"/>
              <a:gd name="connsiteX5" fmla="*/ 742469 w 5250081"/>
              <a:gd name="connsiteY5" fmla="*/ 5246478 h 5261844"/>
              <a:gd name="connsiteX6" fmla="*/ 52629 w 5250081"/>
              <a:gd name="connsiteY6" fmla="*/ 2672945 h 5261844"/>
              <a:gd name="connsiteX0" fmla="*/ 52629 w 4564294"/>
              <a:gd name="connsiteY0" fmla="*/ 2672945 h 5261844"/>
              <a:gd name="connsiteX1" fmla="*/ 1473043 w 4564294"/>
              <a:gd name="connsiteY1" fmla="*/ 606072 h 5261844"/>
              <a:gd name="connsiteX2" fmla="*/ 3729117 w 4564294"/>
              <a:gd name="connsiteY2" fmla="*/ 0 h 5261844"/>
              <a:gd name="connsiteX3" fmla="*/ 4523093 w 4564294"/>
              <a:gd name="connsiteY3" fmla="*/ 590 h 5261844"/>
              <a:gd name="connsiteX4" fmla="*/ 4564212 w 4564294"/>
              <a:gd name="connsiteY4" fmla="*/ 5250069 h 5261844"/>
              <a:gd name="connsiteX5" fmla="*/ 742469 w 4564294"/>
              <a:gd name="connsiteY5" fmla="*/ 5246478 h 5261844"/>
              <a:gd name="connsiteX6" fmla="*/ 52629 w 4564294"/>
              <a:gd name="connsiteY6" fmla="*/ 2672945 h 5261844"/>
              <a:gd name="connsiteX0" fmla="*/ 52629 w 4564294"/>
              <a:gd name="connsiteY0" fmla="*/ 2672945 h 5351078"/>
              <a:gd name="connsiteX1" fmla="*/ 1473043 w 4564294"/>
              <a:gd name="connsiteY1" fmla="*/ 606072 h 5351078"/>
              <a:gd name="connsiteX2" fmla="*/ 3729117 w 4564294"/>
              <a:gd name="connsiteY2" fmla="*/ 0 h 5351078"/>
              <a:gd name="connsiteX3" fmla="*/ 4523093 w 4564294"/>
              <a:gd name="connsiteY3" fmla="*/ 590 h 5351078"/>
              <a:gd name="connsiteX4" fmla="*/ 4564212 w 4564294"/>
              <a:gd name="connsiteY4" fmla="*/ 5250069 h 5351078"/>
              <a:gd name="connsiteX5" fmla="*/ 767869 w 4564294"/>
              <a:gd name="connsiteY5" fmla="*/ 5348078 h 5351078"/>
              <a:gd name="connsiteX6" fmla="*/ 52629 w 4564294"/>
              <a:gd name="connsiteY6" fmla="*/ 2672945 h 5351078"/>
              <a:gd name="connsiteX0" fmla="*/ 52629 w 4564294"/>
              <a:gd name="connsiteY0" fmla="*/ 2672945 h 5363444"/>
              <a:gd name="connsiteX1" fmla="*/ 1473043 w 4564294"/>
              <a:gd name="connsiteY1" fmla="*/ 606072 h 5363444"/>
              <a:gd name="connsiteX2" fmla="*/ 3729117 w 4564294"/>
              <a:gd name="connsiteY2" fmla="*/ 0 h 5363444"/>
              <a:gd name="connsiteX3" fmla="*/ 4523093 w 4564294"/>
              <a:gd name="connsiteY3" fmla="*/ 590 h 5363444"/>
              <a:gd name="connsiteX4" fmla="*/ 4564212 w 4564294"/>
              <a:gd name="connsiteY4" fmla="*/ 5351669 h 5363444"/>
              <a:gd name="connsiteX5" fmla="*/ 767869 w 4564294"/>
              <a:gd name="connsiteY5" fmla="*/ 5348078 h 5363444"/>
              <a:gd name="connsiteX6" fmla="*/ 52629 w 4564294"/>
              <a:gd name="connsiteY6" fmla="*/ 2672945 h 5363444"/>
              <a:gd name="connsiteX0" fmla="*/ 60717 w 4572382"/>
              <a:gd name="connsiteY0" fmla="*/ 2672945 h 5363444"/>
              <a:gd name="connsiteX1" fmla="*/ 1481131 w 4572382"/>
              <a:gd name="connsiteY1" fmla="*/ 606072 h 5363444"/>
              <a:gd name="connsiteX2" fmla="*/ 3737205 w 4572382"/>
              <a:gd name="connsiteY2" fmla="*/ 0 h 5363444"/>
              <a:gd name="connsiteX3" fmla="*/ 4531181 w 4572382"/>
              <a:gd name="connsiteY3" fmla="*/ 590 h 5363444"/>
              <a:gd name="connsiteX4" fmla="*/ 4572300 w 4572382"/>
              <a:gd name="connsiteY4" fmla="*/ 5351669 h 5363444"/>
              <a:gd name="connsiteX5" fmla="*/ 775957 w 4572382"/>
              <a:gd name="connsiteY5" fmla="*/ 5348078 h 5363444"/>
              <a:gd name="connsiteX6" fmla="*/ 60717 w 4572382"/>
              <a:gd name="connsiteY6" fmla="*/ 2672945 h 5363444"/>
              <a:gd name="connsiteX0" fmla="*/ 60717 w 4572382"/>
              <a:gd name="connsiteY0" fmla="*/ 2672945 h 5363444"/>
              <a:gd name="connsiteX1" fmla="*/ 1481131 w 4572382"/>
              <a:gd name="connsiteY1" fmla="*/ 606072 h 5363444"/>
              <a:gd name="connsiteX2" fmla="*/ 3737205 w 4572382"/>
              <a:gd name="connsiteY2" fmla="*/ 0 h 5363444"/>
              <a:gd name="connsiteX3" fmla="*/ 4531181 w 4572382"/>
              <a:gd name="connsiteY3" fmla="*/ 590 h 5363444"/>
              <a:gd name="connsiteX4" fmla="*/ 4572300 w 4572382"/>
              <a:gd name="connsiteY4" fmla="*/ 5351669 h 5363444"/>
              <a:gd name="connsiteX5" fmla="*/ 775957 w 4572382"/>
              <a:gd name="connsiteY5" fmla="*/ 5348078 h 5363444"/>
              <a:gd name="connsiteX6" fmla="*/ 60717 w 4572382"/>
              <a:gd name="connsiteY6" fmla="*/ 2672945 h 5363444"/>
              <a:gd name="connsiteX0" fmla="*/ 61203 w 4572868"/>
              <a:gd name="connsiteY0" fmla="*/ 2672945 h 5363444"/>
              <a:gd name="connsiteX1" fmla="*/ 1481617 w 4572868"/>
              <a:gd name="connsiteY1" fmla="*/ 606072 h 5363444"/>
              <a:gd name="connsiteX2" fmla="*/ 3737691 w 4572868"/>
              <a:gd name="connsiteY2" fmla="*/ 0 h 5363444"/>
              <a:gd name="connsiteX3" fmla="*/ 4531667 w 4572868"/>
              <a:gd name="connsiteY3" fmla="*/ 590 h 5363444"/>
              <a:gd name="connsiteX4" fmla="*/ 4572786 w 4572868"/>
              <a:gd name="connsiteY4" fmla="*/ 5351669 h 5363444"/>
              <a:gd name="connsiteX5" fmla="*/ 776443 w 4572868"/>
              <a:gd name="connsiteY5" fmla="*/ 5348078 h 5363444"/>
              <a:gd name="connsiteX6" fmla="*/ 61203 w 4572868"/>
              <a:gd name="connsiteY6" fmla="*/ 2672945 h 5363444"/>
              <a:gd name="connsiteX0" fmla="*/ 81117 w 4592782"/>
              <a:gd name="connsiteY0" fmla="*/ 2672945 h 5363444"/>
              <a:gd name="connsiteX1" fmla="*/ 1501531 w 4592782"/>
              <a:gd name="connsiteY1" fmla="*/ 606072 h 5363444"/>
              <a:gd name="connsiteX2" fmla="*/ 3757605 w 4592782"/>
              <a:gd name="connsiteY2" fmla="*/ 0 h 5363444"/>
              <a:gd name="connsiteX3" fmla="*/ 4551581 w 4592782"/>
              <a:gd name="connsiteY3" fmla="*/ 590 h 5363444"/>
              <a:gd name="connsiteX4" fmla="*/ 4592700 w 4592782"/>
              <a:gd name="connsiteY4" fmla="*/ 5351669 h 5363444"/>
              <a:gd name="connsiteX5" fmla="*/ 796357 w 4592782"/>
              <a:gd name="connsiteY5" fmla="*/ 5348078 h 5363444"/>
              <a:gd name="connsiteX6" fmla="*/ 81117 w 4592782"/>
              <a:gd name="connsiteY6" fmla="*/ 2672945 h 5363444"/>
              <a:gd name="connsiteX0" fmla="*/ 102028 w 4613693"/>
              <a:gd name="connsiteY0" fmla="*/ 2672945 h 5363444"/>
              <a:gd name="connsiteX1" fmla="*/ 1522442 w 4613693"/>
              <a:gd name="connsiteY1" fmla="*/ 606072 h 5363444"/>
              <a:gd name="connsiteX2" fmla="*/ 3778516 w 4613693"/>
              <a:gd name="connsiteY2" fmla="*/ 0 h 5363444"/>
              <a:gd name="connsiteX3" fmla="*/ 4572492 w 4613693"/>
              <a:gd name="connsiteY3" fmla="*/ 590 h 5363444"/>
              <a:gd name="connsiteX4" fmla="*/ 4613611 w 4613693"/>
              <a:gd name="connsiteY4" fmla="*/ 5351669 h 5363444"/>
              <a:gd name="connsiteX5" fmla="*/ 817268 w 4613693"/>
              <a:gd name="connsiteY5" fmla="*/ 5348078 h 5363444"/>
              <a:gd name="connsiteX6" fmla="*/ 102028 w 4613693"/>
              <a:gd name="connsiteY6" fmla="*/ 2672945 h 5363444"/>
              <a:gd name="connsiteX0" fmla="*/ 105398 w 4617063"/>
              <a:gd name="connsiteY0" fmla="*/ 2672945 h 5363444"/>
              <a:gd name="connsiteX1" fmla="*/ 1525812 w 4617063"/>
              <a:gd name="connsiteY1" fmla="*/ 606072 h 5363444"/>
              <a:gd name="connsiteX2" fmla="*/ 3781886 w 4617063"/>
              <a:gd name="connsiteY2" fmla="*/ 0 h 5363444"/>
              <a:gd name="connsiteX3" fmla="*/ 4575862 w 4617063"/>
              <a:gd name="connsiteY3" fmla="*/ 590 h 5363444"/>
              <a:gd name="connsiteX4" fmla="*/ 4616981 w 4617063"/>
              <a:gd name="connsiteY4" fmla="*/ 5351669 h 5363444"/>
              <a:gd name="connsiteX5" fmla="*/ 820638 w 4617063"/>
              <a:gd name="connsiteY5" fmla="*/ 5348078 h 5363444"/>
              <a:gd name="connsiteX6" fmla="*/ 105398 w 4617063"/>
              <a:gd name="connsiteY6" fmla="*/ 2672945 h 536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7063" h="5363444">
                <a:moveTo>
                  <a:pt x="105398" y="2672945"/>
                </a:moveTo>
                <a:cubicBezTo>
                  <a:pt x="-289015" y="1386001"/>
                  <a:pt x="476123" y="891686"/>
                  <a:pt x="1525812" y="606072"/>
                </a:cubicBezTo>
                <a:lnTo>
                  <a:pt x="3781886" y="0"/>
                </a:lnTo>
                <a:cubicBezTo>
                  <a:pt x="3768453" y="7089"/>
                  <a:pt x="4597127" y="21111"/>
                  <a:pt x="4575862" y="590"/>
                </a:cubicBezTo>
                <a:lnTo>
                  <a:pt x="4616981" y="5351669"/>
                </a:lnTo>
                <a:cubicBezTo>
                  <a:pt x="4637502" y="5365846"/>
                  <a:pt x="834814" y="5370088"/>
                  <a:pt x="820638" y="5348078"/>
                </a:cubicBezTo>
                <a:cubicBezTo>
                  <a:pt x="522643" y="4168138"/>
                  <a:pt x="434582" y="3830202"/>
                  <a:pt x="105398" y="2672945"/>
                </a:cubicBezTo>
                <a:close/>
              </a:path>
            </a:pathLst>
          </a:custGeom>
          <a:solidFill>
            <a:schemeClr val="accent1"/>
          </a:solidFill>
          <a:ln>
            <a:noFill/>
          </a:ln>
        </p:spPr>
        <p:txBody>
          <a:bodyPr/>
          <a:lstStyle>
            <a:lvl1pPr marL="10584" indent="0">
              <a:buNone/>
              <a:defRPr/>
            </a:lvl1pPr>
          </a:lstStyle>
          <a:p>
            <a:endParaRPr lang="en-US"/>
          </a:p>
        </p:txBody>
      </p:sp>
    </p:spTree>
    <p:extLst>
      <p:ext uri="{BB962C8B-B14F-4D97-AF65-F5344CB8AC3E}">
        <p14:creationId xmlns:p14="http://schemas.microsoft.com/office/powerpoint/2010/main" val="36949845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Photo Right +Content">
    <p:bg>
      <p:bgPr>
        <a:solidFill>
          <a:schemeClr val="bg1">
            <a:tint val="95000"/>
            <a:satMod val="170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FC23E3-AF36-135C-51A2-FEFD25B41678}"/>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91FC23E3-AF36-135C-51A2-FEFD25B41678}"/>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BC38C59D-D341-9F4B-9A26-6A7B31DA3E8C}"/>
              </a:ext>
            </a:extLst>
          </p:cNvPr>
          <p:cNvSpPr>
            <a:spLocks noGrp="1"/>
          </p:cNvSpPr>
          <p:nvPr>
            <p:ph type="pic" sz="quarter" idx="13"/>
          </p:nvPr>
        </p:nvSpPr>
        <p:spPr>
          <a:xfrm flipH="1">
            <a:off x="-184033" y="-53675"/>
            <a:ext cx="5737911" cy="7011203"/>
          </a:xfrm>
          <a:custGeom>
            <a:avLst/>
            <a:gdLst>
              <a:gd name="connsiteX0" fmla="*/ 0 w 6067663"/>
              <a:gd name="connsiteY0" fmla="*/ 1682684 h 6288500"/>
              <a:gd name="connsiteX1" fmla="*/ 1682684 w 6067663"/>
              <a:gd name="connsiteY1" fmla="*/ 0 h 6288500"/>
              <a:gd name="connsiteX2" fmla="*/ 4384979 w 6067663"/>
              <a:gd name="connsiteY2" fmla="*/ 0 h 6288500"/>
              <a:gd name="connsiteX3" fmla="*/ 6067663 w 6067663"/>
              <a:gd name="connsiteY3" fmla="*/ 1682684 h 6288500"/>
              <a:gd name="connsiteX4" fmla="*/ 6067663 w 6067663"/>
              <a:gd name="connsiteY4" fmla="*/ 4605816 h 6288500"/>
              <a:gd name="connsiteX5" fmla="*/ 4384979 w 6067663"/>
              <a:gd name="connsiteY5" fmla="*/ 6288500 h 6288500"/>
              <a:gd name="connsiteX6" fmla="*/ 1682684 w 6067663"/>
              <a:gd name="connsiteY6" fmla="*/ 6288500 h 6288500"/>
              <a:gd name="connsiteX7" fmla="*/ 0 w 6067663"/>
              <a:gd name="connsiteY7" fmla="*/ 4605816 h 6288500"/>
              <a:gd name="connsiteX8" fmla="*/ 0 w 6067663"/>
              <a:gd name="connsiteY8" fmla="*/ 1682684 h 6288500"/>
              <a:gd name="connsiteX0" fmla="*/ 0 w 6335887"/>
              <a:gd name="connsiteY0" fmla="*/ 2414204 h 6288500"/>
              <a:gd name="connsiteX1" fmla="*/ 1950908 w 6335887"/>
              <a:gd name="connsiteY1" fmla="*/ 0 h 6288500"/>
              <a:gd name="connsiteX2" fmla="*/ 4653203 w 6335887"/>
              <a:gd name="connsiteY2" fmla="*/ 0 h 6288500"/>
              <a:gd name="connsiteX3" fmla="*/ 6335887 w 6335887"/>
              <a:gd name="connsiteY3" fmla="*/ 1682684 h 6288500"/>
              <a:gd name="connsiteX4" fmla="*/ 6335887 w 6335887"/>
              <a:gd name="connsiteY4" fmla="*/ 4605816 h 6288500"/>
              <a:gd name="connsiteX5" fmla="*/ 4653203 w 6335887"/>
              <a:gd name="connsiteY5" fmla="*/ 6288500 h 6288500"/>
              <a:gd name="connsiteX6" fmla="*/ 1950908 w 6335887"/>
              <a:gd name="connsiteY6" fmla="*/ 6288500 h 6288500"/>
              <a:gd name="connsiteX7" fmla="*/ 268224 w 6335887"/>
              <a:gd name="connsiteY7" fmla="*/ 4605816 h 6288500"/>
              <a:gd name="connsiteX8" fmla="*/ 0 w 6335887"/>
              <a:gd name="connsiteY8" fmla="*/ 2414204 h 6288500"/>
              <a:gd name="connsiteX0" fmla="*/ 0 w 6335887"/>
              <a:gd name="connsiteY0" fmla="*/ 2414204 h 6288500"/>
              <a:gd name="connsiteX1" fmla="*/ 1719260 w 6335887"/>
              <a:gd name="connsiteY1" fmla="*/ 341376 h 6288500"/>
              <a:gd name="connsiteX2" fmla="*/ 4653203 w 6335887"/>
              <a:gd name="connsiteY2" fmla="*/ 0 h 6288500"/>
              <a:gd name="connsiteX3" fmla="*/ 6335887 w 6335887"/>
              <a:gd name="connsiteY3" fmla="*/ 1682684 h 6288500"/>
              <a:gd name="connsiteX4" fmla="*/ 6335887 w 6335887"/>
              <a:gd name="connsiteY4" fmla="*/ 4605816 h 6288500"/>
              <a:gd name="connsiteX5" fmla="*/ 4653203 w 6335887"/>
              <a:gd name="connsiteY5" fmla="*/ 6288500 h 6288500"/>
              <a:gd name="connsiteX6" fmla="*/ 1950908 w 6335887"/>
              <a:gd name="connsiteY6" fmla="*/ 6288500 h 6288500"/>
              <a:gd name="connsiteX7" fmla="*/ 268224 w 6335887"/>
              <a:gd name="connsiteY7" fmla="*/ 4605816 h 6288500"/>
              <a:gd name="connsiteX8" fmla="*/ 0 w 6335887"/>
              <a:gd name="connsiteY8" fmla="*/ 2414204 h 6288500"/>
              <a:gd name="connsiteX0" fmla="*/ 0 w 6335887"/>
              <a:gd name="connsiteY0" fmla="*/ 2414204 h 6288500"/>
              <a:gd name="connsiteX1" fmla="*/ 1719260 w 6335887"/>
              <a:gd name="connsiteY1" fmla="*/ 341376 h 6288500"/>
              <a:gd name="connsiteX2" fmla="*/ 4653203 w 6335887"/>
              <a:gd name="connsiteY2" fmla="*/ 0 h 6288500"/>
              <a:gd name="connsiteX3" fmla="*/ 6335887 w 6335887"/>
              <a:gd name="connsiteY3" fmla="*/ 1682684 h 6288500"/>
              <a:gd name="connsiteX4" fmla="*/ 6335887 w 6335887"/>
              <a:gd name="connsiteY4" fmla="*/ 4605816 h 6288500"/>
              <a:gd name="connsiteX5" fmla="*/ 4653203 w 6335887"/>
              <a:gd name="connsiteY5" fmla="*/ 6288500 h 6288500"/>
              <a:gd name="connsiteX6" fmla="*/ 1950908 w 6335887"/>
              <a:gd name="connsiteY6" fmla="*/ 6288500 h 6288500"/>
              <a:gd name="connsiteX7" fmla="*/ 682752 w 6335887"/>
              <a:gd name="connsiteY7" fmla="*/ 4959384 h 6288500"/>
              <a:gd name="connsiteX8" fmla="*/ 0 w 6335887"/>
              <a:gd name="connsiteY8" fmla="*/ 2414204 h 6288500"/>
              <a:gd name="connsiteX0" fmla="*/ 0 w 6335887"/>
              <a:gd name="connsiteY0" fmla="*/ 2414204 h 6288500"/>
              <a:gd name="connsiteX1" fmla="*/ 1719260 w 6335887"/>
              <a:gd name="connsiteY1" fmla="*/ 341376 h 6288500"/>
              <a:gd name="connsiteX2" fmla="*/ 4653203 w 6335887"/>
              <a:gd name="connsiteY2" fmla="*/ 0 h 6288500"/>
              <a:gd name="connsiteX3" fmla="*/ 6335887 w 6335887"/>
              <a:gd name="connsiteY3" fmla="*/ 1682684 h 6288500"/>
              <a:gd name="connsiteX4" fmla="*/ 6335887 w 6335887"/>
              <a:gd name="connsiteY4" fmla="*/ 4605816 h 6288500"/>
              <a:gd name="connsiteX5" fmla="*/ 4653203 w 6335887"/>
              <a:gd name="connsiteY5" fmla="*/ 6288500 h 6288500"/>
              <a:gd name="connsiteX6" fmla="*/ 1950908 w 6335887"/>
              <a:gd name="connsiteY6" fmla="*/ 6288500 h 6288500"/>
              <a:gd name="connsiteX7" fmla="*/ 682752 w 6335887"/>
              <a:gd name="connsiteY7" fmla="*/ 4959384 h 6288500"/>
              <a:gd name="connsiteX8" fmla="*/ 0 w 6335887"/>
              <a:gd name="connsiteY8" fmla="*/ 2414204 h 6288500"/>
              <a:gd name="connsiteX0" fmla="*/ 0 w 6335887"/>
              <a:gd name="connsiteY0" fmla="*/ 2609276 h 6483572"/>
              <a:gd name="connsiteX1" fmla="*/ 1719260 w 6335887"/>
              <a:gd name="connsiteY1" fmla="*/ 536448 h 6483572"/>
              <a:gd name="connsiteX2" fmla="*/ 3287699 w 6335887"/>
              <a:gd name="connsiteY2" fmla="*/ 0 h 6483572"/>
              <a:gd name="connsiteX3" fmla="*/ 6335887 w 6335887"/>
              <a:gd name="connsiteY3" fmla="*/ 1877756 h 6483572"/>
              <a:gd name="connsiteX4" fmla="*/ 6335887 w 6335887"/>
              <a:gd name="connsiteY4" fmla="*/ 4800888 h 6483572"/>
              <a:gd name="connsiteX5" fmla="*/ 4653203 w 6335887"/>
              <a:gd name="connsiteY5" fmla="*/ 6483572 h 6483572"/>
              <a:gd name="connsiteX6" fmla="*/ 1950908 w 6335887"/>
              <a:gd name="connsiteY6" fmla="*/ 6483572 h 6483572"/>
              <a:gd name="connsiteX7" fmla="*/ 682752 w 6335887"/>
              <a:gd name="connsiteY7" fmla="*/ 5154456 h 6483572"/>
              <a:gd name="connsiteX8" fmla="*/ 0 w 6335887"/>
              <a:gd name="connsiteY8" fmla="*/ 2609276 h 6483572"/>
              <a:gd name="connsiteX0" fmla="*/ 0 w 6335887"/>
              <a:gd name="connsiteY0" fmla="*/ 2609276 h 6483572"/>
              <a:gd name="connsiteX1" fmla="*/ 1682684 w 6335887"/>
              <a:gd name="connsiteY1" fmla="*/ 499872 h 6483572"/>
              <a:gd name="connsiteX2" fmla="*/ 3287699 w 6335887"/>
              <a:gd name="connsiteY2" fmla="*/ 0 h 6483572"/>
              <a:gd name="connsiteX3" fmla="*/ 6335887 w 6335887"/>
              <a:gd name="connsiteY3" fmla="*/ 1877756 h 6483572"/>
              <a:gd name="connsiteX4" fmla="*/ 6335887 w 6335887"/>
              <a:gd name="connsiteY4" fmla="*/ 4800888 h 6483572"/>
              <a:gd name="connsiteX5" fmla="*/ 4653203 w 6335887"/>
              <a:gd name="connsiteY5" fmla="*/ 6483572 h 6483572"/>
              <a:gd name="connsiteX6" fmla="*/ 1950908 w 6335887"/>
              <a:gd name="connsiteY6" fmla="*/ 6483572 h 6483572"/>
              <a:gd name="connsiteX7" fmla="*/ 682752 w 6335887"/>
              <a:gd name="connsiteY7" fmla="*/ 5154456 h 6483572"/>
              <a:gd name="connsiteX8" fmla="*/ 0 w 6335887"/>
              <a:gd name="connsiteY8" fmla="*/ 2609276 h 6483572"/>
              <a:gd name="connsiteX0" fmla="*/ 0 w 6335887"/>
              <a:gd name="connsiteY0" fmla="*/ 2706812 h 6581108"/>
              <a:gd name="connsiteX1" fmla="*/ 1682684 w 6335887"/>
              <a:gd name="connsiteY1" fmla="*/ 597408 h 6581108"/>
              <a:gd name="connsiteX2" fmla="*/ 3811955 w 6335887"/>
              <a:gd name="connsiteY2" fmla="*/ 0 h 6581108"/>
              <a:gd name="connsiteX3" fmla="*/ 6335887 w 6335887"/>
              <a:gd name="connsiteY3" fmla="*/ 1975292 h 6581108"/>
              <a:gd name="connsiteX4" fmla="*/ 6335887 w 6335887"/>
              <a:gd name="connsiteY4" fmla="*/ 4898424 h 6581108"/>
              <a:gd name="connsiteX5" fmla="*/ 4653203 w 6335887"/>
              <a:gd name="connsiteY5" fmla="*/ 6581108 h 6581108"/>
              <a:gd name="connsiteX6" fmla="*/ 1950908 w 6335887"/>
              <a:gd name="connsiteY6" fmla="*/ 6581108 h 6581108"/>
              <a:gd name="connsiteX7" fmla="*/ 682752 w 6335887"/>
              <a:gd name="connsiteY7" fmla="*/ 5251992 h 6581108"/>
              <a:gd name="connsiteX8" fmla="*/ 0 w 6335887"/>
              <a:gd name="connsiteY8" fmla="*/ 2706812 h 6581108"/>
              <a:gd name="connsiteX0" fmla="*/ 0 w 6335887"/>
              <a:gd name="connsiteY0" fmla="*/ 2706812 h 6581108"/>
              <a:gd name="connsiteX1" fmla="*/ 1682684 w 6335887"/>
              <a:gd name="connsiteY1" fmla="*/ 597408 h 6581108"/>
              <a:gd name="connsiteX2" fmla="*/ 3811955 w 6335887"/>
              <a:gd name="connsiteY2" fmla="*/ 0 h 6581108"/>
              <a:gd name="connsiteX3" fmla="*/ 6335887 w 6335887"/>
              <a:gd name="connsiteY3" fmla="*/ 1975292 h 6581108"/>
              <a:gd name="connsiteX4" fmla="*/ 6335887 w 6335887"/>
              <a:gd name="connsiteY4" fmla="*/ 4898424 h 6581108"/>
              <a:gd name="connsiteX5" fmla="*/ 4653203 w 6335887"/>
              <a:gd name="connsiteY5" fmla="*/ 6581108 h 6581108"/>
              <a:gd name="connsiteX6" fmla="*/ 1950908 w 6335887"/>
              <a:gd name="connsiteY6" fmla="*/ 6581108 h 6581108"/>
              <a:gd name="connsiteX7" fmla="*/ 682752 w 6335887"/>
              <a:gd name="connsiteY7" fmla="*/ 5251992 h 6581108"/>
              <a:gd name="connsiteX8" fmla="*/ 0 w 6335887"/>
              <a:gd name="connsiteY8" fmla="*/ 2706812 h 6581108"/>
              <a:gd name="connsiteX0" fmla="*/ 35574 w 6371461"/>
              <a:gd name="connsiteY0" fmla="*/ 2706812 h 6581108"/>
              <a:gd name="connsiteX1" fmla="*/ 1718258 w 6371461"/>
              <a:gd name="connsiteY1" fmla="*/ 597408 h 6581108"/>
              <a:gd name="connsiteX2" fmla="*/ 3847529 w 6371461"/>
              <a:gd name="connsiteY2" fmla="*/ 0 h 6581108"/>
              <a:gd name="connsiteX3" fmla="*/ 6371461 w 6371461"/>
              <a:gd name="connsiteY3" fmla="*/ 1975292 h 6581108"/>
              <a:gd name="connsiteX4" fmla="*/ 6371461 w 6371461"/>
              <a:gd name="connsiteY4" fmla="*/ 4898424 h 6581108"/>
              <a:gd name="connsiteX5" fmla="*/ 4688777 w 6371461"/>
              <a:gd name="connsiteY5" fmla="*/ 6581108 h 6581108"/>
              <a:gd name="connsiteX6" fmla="*/ 1986482 w 6371461"/>
              <a:gd name="connsiteY6" fmla="*/ 6581108 h 6581108"/>
              <a:gd name="connsiteX7" fmla="*/ 718326 w 6371461"/>
              <a:gd name="connsiteY7" fmla="*/ 5251992 h 6581108"/>
              <a:gd name="connsiteX8" fmla="*/ 35574 w 6371461"/>
              <a:gd name="connsiteY8" fmla="*/ 2706812 h 6581108"/>
              <a:gd name="connsiteX0" fmla="*/ 35574 w 6371461"/>
              <a:gd name="connsiteY0" fmla="*/ 2706812 h 6581108"/>
              <a:gd name="connsiteX1" fmla="*/ 1718258 w 6371461"/>
              <a:gd name="connsiteY1" fmla="*/ 597408 h 6581108"/>
              <a:gd name="connsiteX2" fmla="*/ 3847529 w 6371461"/>
              <a:gd name="connsiteY2" fmla="*/ 0 h 6581108"/>
              <a:gd name="connsiteX3" fmla="*/ 6371461 w 6371461"/>
              <a:gd name="connsiteY3" fmla="*/ 1975292 h 6581108"/>
              <a:gd name="connsiteX4" fmla="*/ 6371461 w 6371461"/>
              <a:gd name="connsiteY4" fmla="*/ 4898424 h 6581108"/>
              <a:gd name="connsiteX5" fmla="*/ 4688777 w 6371461"/>
              <a:gd name="connsiteY5" fmla="*/ 6581108 h 6581108"/>
              <a:gd name="connsiteX6" fmla="*/ 1986482 w 6371461"/>
              <a:gd name="connsiteY6" fmla="*/ 6581108 h 6581108"/>
              <a:gd name="connsiteX7" fmla="*/ 718326 w 6371461"/>
              <a:gd name="connsiteY7" fmla="*/ 5251992 h 6581108"/>
              <a:gd name="connsiteX8" fmla="*/ 35574 w 6371461"/>
              <a:gd name="connsiteY8" fmla="*/ 2706812 h 6581108"/>
              <a:gd name="connsiteX0" fmla="*/ 27408 w 6363295"/>
              <a:gd name="connsiteY0" fmla="*/ 2706812 h 6581108"/>
              <a:gd name="connsiteX1" fmla="*/ 1710092 w 6363295"/>
              <a:gd name="connsiteY1" fmla="*/ 597408 h 6581108"/>
              <a:gd name="connsiteX2" fmla="*/ 3839363 w 6363295"/>
              <a:gd name="connsiteY2" fmla="*/ 0 h 6581108"/>
              <a:gd name="connsiteX3" fmla="*/ 6363295 w 6363295"/>
              <a:gd name="connsiteY3" fmla="*/ 1975292 h 6581108"/>
              <a:gd name="connsiteX4" fmla="*/ 6363295 w 6363295"/>
              <a:gd name="connsiteY4" fmla="*/ 4898424 h 6581108"/>
              <a:gd name="connsiteX5" fmla="*/ 4680611 w 6363295"/>
              <a:gd name="connsiteY5" fmla="*/ 6581108 h 6581108"/>
              <a:gd name="connsiteX6" fmla="*/ 1978316 w 6363295"/>
              <a:gd name="connsiteY6" fmla="*/ 6581108 h 6581108"/>
              <a:gd name="connsiteX7" fmla="*/ 710160 w 6363295"/>
              <a:gd name="connsiteY7" fmla="*/ 5251992 h 6581108"/>
              <a:gd name="connsiteX8" fmla="*/ 27408 w 6363295"/>
              <a:gd name="connsiteY8" fmla="*/ 2706812 h 6581108"/>
              <a:gd name="connsiteX0" fmla="*/ 45364 w 6381251"/>
              <a:gd name="connsiteY0" fmla="*/ 2706812 h 6581108"/>
              <a:gd name="connsiteX1" fmla="*/ 1728048 w 6381251"/>
              <a:gd name="connsiteY1" fmla="*/ 597408 h 6581108"/>
              <a:gd name="connsiteX2" fmla="*/ 3857319 w 6381251"/>
              <a:gd name="connsiteY2" fmla="*/ 0 h 6581108"/>
              <a:gd name="connsiteX3" fmla="*/ 6381251 w 6381251"/>
              <a:gd name="connsiteY3" fmla="*/ 1975292 h 6581108"/>
              <a:gd name="connsiteX4" fmla="*/ 6381251 w 6381251"/>
              <a:gd name="connsiteY4" fmla="*/ 4898424 h 6581108"/>
              <a:gd name="connsiteX5" fmla="*/ 4698567 w 6381251"/>
              <a:gd name="connsiteY5" fmla="*/ 6581108 h 6581108"/>
              <a:gd name="connsiteX6" fmla="*/ 1996272 w 6381251"/>
              <a:gd name="connsiteY6" fmla="*/ 6581108 h 6581108"/>
              <a:gd name="connsiteX7" fmla="*/ 728116 w 6381251"/>
              <a:gd name="connsiteY7" fmla="*/ 5251992 h 6581108"/>
              <a:gd name="connsiteX8" fmla="*/ 45364 w 6381251"/>
              <a:gd name="connsiteY8" fmla="*/ 2706812 h 6581108"/>
              <a:gd name="connsiteX0" fmla="*/ 45364 w 6381251"/>
              <a:gd name="connsiteY0" fmla="*/ 2706812 h 6581108"/>
              <a:gd name="connsiteX1" fmla="*/ 1728048 w 6381251"/>
              <a:gd name="connsiteY1" fmla="*/ 597408 h 6581108"/>
              <a:gd name="connsiteX2" fmla="*/ 3857319 w 6381251"/>
              <a:gd name="connsiteY2" fmla="*/ 0 h 6581108"/>
              <a:gd name="connsiteX3" fmla="*/ 6381251 w 6381251"/>
              <a:gd name="connsiteY3" fmla="*/ 1975292 h 6581108"/>
              <a:gd name="connsiteX4" fmla="*/ 6381251 w 6381251"/>
              <a:gd name="connsiteY4" fmla="*/ 4898424 h 6581108"/>
              <a:gd name="connsiteX5" fmla="*/ 4698567 w 6381251"/>
              <a:gd name="connsiteY5" fmla="*/ 6581108 h 6581108"/>
              <a:gd name="connsiteX6" fmla="*/ 1996272 w 6381251"/>
              <a:gd name="connsiteY6" fmla="*/ 6581108 h 6581108"/>
              <a:gd name="connsiteX7" fmla="*/ 728116 w 6381251"/>
              <a:gd name="connsiteY7" fmla="*/ 5251992 h 6581108"/>
              <a:gd name="connsiteX8" fmla="*/ 45364 w 6381251"/>
              <a:gd name="connsiteY8" fmla="*/ 2706812 h 6581108"/>
              <a:gd name="connsiteX0" fmla="*/ 45364 w 6381251"/>
              <a:gd name="connsiteY0" fmla="*/ 2706812 h 6581108"/>
              <a:gd name="connsiteX1" fmla="*/ 1728048 w 6381251"/>
              <a:gd name="connsiteY1" fmla="*/ 597408 h 6581108"/>
              <a:gd name="connsiteX2" fmla="*/ 3857319 w 6381251"/>
              <a:gd name="connsiteY2" fmla="*/ 0 h 6581108"/>
              <a:gd name="connsiteX3" fmla="*/ 6381251 w 6381251"/>
              <a:gd name="connsiteY3" fmla="*/ 1975292 h 6581108"/>
              <a:gd name="connsiteX4" fmla="*/ 6381251 w 6381251"/>
              <a:gd name="connsiteY4" fmla="*/ 4898424 h 6581108"/>
              <a:gd name="connsiteX5" fmla="*/ 4698567 w 6381251"/>
              <a:gd name="connsiteY5" fmla="*/ 6581108 h 6581108"/>
              <a:gd name="connsiteX6" fmla="*/ 1996272 w 6381251"/>
              <a:gd name="connsiteY6" fmla="*/ 6581108 h 6581108"/>
              <a:gd name="connsiteX7" fmla="*/ 735204 w 6381251"/>
              <a:gd name="connsiteY7" fmla="*/ 5280345 h 6581108"/>
              <a:gd name="connsiteX8" fmla="*/ 45364 w 6381251"/>
              <a:gd name="connsiteY8" fmla="*/ 2706812 h 6581108"/>
              <a:gd name="connsiteX0" fmla="*/ 45364 w 6381251"/>
              <a:gd name="connsiteY0" fmla="*/ 2706812 h 6581108"/>
              <a:gd name="connsiteX1" fmla="*/ 1728048 w 6381251"/>
              <a:gd name="connsiteY1" fmla="*/ 597408 h 6581108"/>
              <a:gd name="connsiteX2" fmla="*/ 3857319 w 6381251"/>
              <a:gd name="connsiteY2" fmla="*/ 0 h 6581108"/>
              <a:gd name="connsiteX3" fmla="*/ 6381251 w 6381251"/>
              <a:gd name="connsiteY3" fmla="*/ 1975292 h 6581108"/>
              <a:gd name="connsiteX4" fmla="*/ 6381251 w 6381251"/>
              <a:gd name="connsiteY4" fmla="*/ 4898424 h 6581108"/>
              <a:gd name="connsiteX5" fmla="*/ 4698567 w 6381251"/>
              <a:gd name="connsiteY5" fmla="*/ 6581108 h 6581108"/>
              <a:gd name="connsiteX6" fmla="*/ 1996272 w 6381251"/>
              <a:gd name="connsiteY6" fmla="*/ 6581108 h 6581108"/>
              <a:gd name="connsiteX7" fmla="*/ 735204 w 6381251"/>
              <a:gd name="connsiteY7" fmla="*/ 5280345 h 6581108"/>
              <a:gd name="connsiteX8" fmla="*/ 45364 w 6381251"/>
              <a:gd name="connsiteY8" fmla="*/ 2706812 h 6581108"/>
              <a:gd name="connsiteX0" fmla="*/ 66735 w 6402622"/>
              <a:gd name="connsiteY0" fmla="*/ 2706812 h 6581108"/>
              <a:gd name="connsiteX1" fmla="*/ 1749419 w 6402622"/>
              <a:gd name="connsiteY1" fmla="*/ 597408 h 6581108"/>
              <a:gd name="connsiteX2" fmla="*/ 3878690 w 6402622"/>
              <a:gd name="connsiteY2" fmla="*/ 0 h 6581108"/>
              <a:gd name="connsiteX3" fmla="*/ 6402622 w 6402622"/>
              <a:gd name="connsiteY3" fmla="*/ 1975292 h 6581108"/>
              <a:gd name="connsiteX4" fmla="*/ 6402622 w 6402622"/>
              <a:gd name="connsiteY4" fmla="*/ 4898424 h 6581108"/>
              <a:gd name="connsiteX5" fmla="*/ 4719938 w 6402622"/>
              <a:gd name="connsiteY5" fmla="*/ 6581108 h 6581108"/>
              <a:gd name="connsiteX6" fmla="*/ 2017643 w 6402622"/>
              <a:gd name="connsiteY6" fmla="*/ 6581108 h 6581108"/>
              <a:gd name="connsiteX7" fmla="*/ 756575 w 6402622"/>
              <a:gd name="connsiteY7" fmla="*/ 5280345 h 6581108"/>
              <a:gd name="connsiteX8" fmla="*/ 66735 w 6402622"/>
              <a:gd name="connsiteY8" fmla="*/ 2706812 h 6581108"/>
              <a:gd name="connsiteX0" fmla="*/ 100916 w 6436803"/>
              <a:gd name="connsiteY0" fmla="*/ 2706812 h 6581108"/>
              <a:gd name="connsiteX1" fmla="*/ 1783600 w 6436803"/>
              <a:gd name="connsiteY1" fmla="*/ 597408 h 6581108"/>
              <a:gd name="connsiteX2" fmla="*/ 3912871 w 6436803"/>
              <a:gd name="connsiteY2" fmla="*/ 0 h 6581108"/>
              <a:gd name="connsiteX3" fmla="*/ 6436803 w 6436803"/>
              <a:gd name="connsiteY3" fmla="*/ 1975292 h 6581108"/>
              <a:gd name="connsiteX4" fmla="*/ 6436803 w 6436803"/>
              <a:gd name="connsiteY4" fmla="*/ 4898424 h 6581108"/>
              <a:gd name="connsiteX5" fmla="*/ 4754119 w 6436803"/>
              <a:gd name="connsiteY5" fmla="*/ 6581108 h 6581108"/>
              <a:gd name="connsiteX6" fmla="*/ 2051824 w 6436803"/>
              <a:gd name="connsiteY6" fmla="*/ 6581108 h 6581108"/>
              <a:gd name="connsiteX7" fmla="*/ 790756 w 6436803"/>
              <a:gd name="connsiteY7" fmla="*/ 5280345 h 6581108"/>
              <a:gd name="connsiteX8" fmla="*/ 100916 w 6436803"/>
              <a:gd name="connsiteY8" fmla="*/ 2706812 h 6581108"/>
              <a:gd name="connsiteX0" fmla="*/ 64111 w 6399998"/>
              <a:gd name="connsiteY0" fmla="*/ 2706812 h 6581108"/>
              <a:gd name="connsiteX1" fmla="*/ 1746795 w 6399998"/>
              <a:gd name="connsiteY1" fmla="*/ 597408 h 6581108"/>
              <a:gd name="connsiteX2" fmla="*/ 3876066 w 6399998"/>
              <a:gd name="connsiteY2" fmla="*/ 0 h 6581108"/>
              <a:gd name="connsiteX3" fmla="*/ 6399998 w 6399998"/>
              <a:gd name="connsiteY3" fmla="*/ 1975292 h 6581108"/>
              <a:gd name="connsiteX4" fmla="*/ 6399998 w 6399998"/>
              <a:gd name="connsiteY4" fmla="*/ 4898424 h 6581108"/>
              <a:gd name="connsiteX5" fmla="*/ 4717314 w 6399998"/>
              <a:gd name="connsiteY5" fmla="*/ 6581108 h 6581108"/>
              <a:gd name="connsiteX6" fmla="*/ 2015019 w 6399998"/>
              <a:gd name="connsiteY6" fmla="*/ 6581108 h 6581108"/>
              <a:gd name="connsiteX7" fmla="*/ 753951 w 6399998"/>
              <a:gd name="connsiteY7" fmla="*/ 5280345 h 6581108"/>
              <a:gd name="connsiteX8" fmla="*/ 64111 w 6399998"/>
              <a:gd name="connsiteY8" fmla="*/ 2706812 h 6581108"/>
              <a:gd name="connsiteX0" fmla="*/ 77200 w 6413087"/>
              <a:gd name="connsiteY0" fmla="*/ 2706812 h 6581108"/>
              <a:gd name="connsiteX1" fmla="*/ 1589763 w 6413087"/>
              <a:gd name="connsiteY1" fmla="*/ 618673 h 6581108"/>
              <a:gd name="connsiteX2" fmla="*/ 3889155 w 6413087"/>
              <a:gd name="connsiteY2" fmla="*/ 0 h 6581108"/>
              <a:gd name="connsiteX3" fmla="*/ 6413087 w 6413087"/>
              <a:gd name="connsiteY3" fmla="*/ 1975292 h 6581108"/>
              <a:gd name="connsiteX4" fmla="*/ 6413087 w 6413087"/>
              <a:gd name="connsiteY4" fmla="*/ 4898424 h 6581108"/>
              <a:gd name="connsiteX5" fmla="*/ 4730403 w 6413087"/>
              <a:gd name="connsiteY5" fmla="*/ 6581108 h 6581108"/>
              <a:gd name="connsiteX6" fmla="*/ 2028108 w 6413087"/>
              <a:gd name="connsiteY6" fmla="*/ 6581108 h 6581108"/>
              <a:gd name="connsiteX7" fmla="*/ 767040 w 6413087"/>
              <a:gd name="connsiteY7" fmla="*/ 5280345 h 6581108"/>
              <a:gd name="connsiteX8" fmla="*/ 77200 w 6413087"/>
              <a:gd name="connsiteY8" fmla="*/ 2706812 h 6581108"/>
              <a:gd name="connsiteX0" fmla="*/ 86355 w 6422242"/>
              <a:gd name="connsiteY0" fmla="*/ 2706812 h 6581108"/>
              <a:gd name="connsiteX1" fmla="*/ 1506769 w 6422242"/>
              <a:gd name="connsiteY1" fmla="*/ 639939 h 6581108"/>
              <a:gd name="connsiteX2" fmla="*/ 3898310 w 6422242"/>
              <a:gd name="connsiteY2" fmla="*/ 0 h 6581108"/>
              <a:gd name="connsiteX3" fmla="*/ 6422242 w 6422242"/>
              <a:gd name="connsiteY3" fmla="*/ 1975292 h 6581108"/>
              <a:gd name="connsiteX4" fmla="*/ 6422242 w 6422242"/>
              <a:gd name="connsiteY4" fmla="*/ 4898424 h 6581108"/>
              <a:gd name="connsiteX5" fmla="*/ 4739558 w 6422242"/>
              <a:gd name="connsiteY5" fmla="*/ 6581108 h 6581108"/>
              <a:gd name="connsiteX6" fmla="*/ 2037263 w 6422242"/>
              <a:gd name="connsiteY6" fmla="*/ 6581108 h 6581108"/>
              <a:gd name="connsiteX7" fmla="*/ 776195 w 6422242"/>
              <a:gd name="connsiteY7" fmla="*/ 5280345 h 6581108"/>
              <a:gd name="connsiteX8" fmla="*/ 86355 w 6422242"/>
              <a:gd name="connsiteY8" fmla="*/ 2706812 h 6581108"/>
              <a:gd name="connsiteX0" fmla="*/ 52629 w 6388516"/>
              <a:gd name="connsiteY0" fmla="*/ 2706812 h 6581108"/>
              <a:gd name="connsiteX1" fmla="*/ 1473043 w 6388516"/>
              <a:gd name="connsiteY1" fmla="*/ 639939 h 6581108"/>
              <a:gd name="connsiteX2" fmla="*/ 3864584 w 6388516"/>
              <a:gd name="connsiteY2" fmla="*/ 0 h 6581108"/>
              <a:gd name="connsiteX3" fmla="*/ 6388516 w 6388516"/>
              <a:gd name="connsiteY3" fmla="*/ 1975292 h 6581108"/>
              <a:gd name="connsiteX4" fmla="*/ 6388516 w 6388516"/>
              <a:gd name="connsiteY4" fmla="*/ 4898424 h 6581108"/>
              <a:gd name="connsiteX5" fmla="*/ 4705832 w 6388516"/>
              <a:gd name="connsiteY5" fmla="*/ 6581108 h 6581108"/>
              <a:gd name="connsiteX6" fmla="*/ 2003537 w 6388516"/>
              <a:gd name="connsiteY6" fmla="*/ 6581108 h 6581108"/>
              <a:gd name="connsiteX7" fmla="*/ 742469 w 6388516"/>
              <a:gd name="connsiteY7" fmla="*/ 5280345 h 6581108"/>
              <a:gd name="connsiteX8" fmla="*/ 52629 w 6388516"/>
              <a:gd name="connsiteY8" fmla="*/ 2706812 h 6581108"/>
              <a:gd name="connsiteX0" fmla="*/ 52629 w 6388516"/>
              <a:gd name="connsiteY0" fmla="*/ 2837050 h 6711346"/>
              <a:gd name="connsiteX1" fmla="*/ 1473043 w 6388516"/>
              <a:gd name="connsiteY1" fmla="*/ 770177 h 6711346"/>
              <a:gd name="connsiteX2" fmla="*/ 3864584 w 6388516"/>
              <a:gd name="connsiteY2" fmla="*/ 130238 h 6711346"/>
              <a:gd name="connsiteX3" fmla="*/ 5233111 w 6388516"/>
              <a:gd name="connsiteY3" fmla="*/ 567353 h 6711346"/>
              <a:gd name="connsiteX4" fmla="*/ 6388516 w 6388516"/>
              <a:gd name="connsiteY4" fmla="*/ 5028662 h 6711346"/>
              <a:gd name="connsiteX5" fmla="*/ 4705832 w 6388516"/>
              <a:gd name="connsiteY5" fmla="*/ 6711346 h 6711346"/>
              <a:gd name="connsiteX6" fmla="*/ 2003537 w 6388516"/>
              <a:gd name="connsiteY6" fmla="*/ 6711346 h 6711346"/>
              <a:gd name="connsiteX7" fmla="*/ 742469 w 6388516"/>
              <a:gd name="connsiteY7" fmla="*/ 5410583 h 6711346"/>
              <a:gd name="connsiteX8" fmla="*/ 52629 w 6388516"/>
              <a:gd name="connsiteY8" fmla="*/ 2837050 h 6711346"/>
              <a:gd name="connsiteX0" fmla="*/ 52629 w 6388516"/>
              <a:gd name="connsiteY0" fmla="*/ 2706812 h 6581108"/>
              <a:gd name="connsiteX1" fmla="*/ 1473043 w 6388516"/>
              <a:gd name="connsiteY1" fmla="*/ 639939 h 6581108"/>
              <a:gd name="connsiteX2" fmla="*/ 3864584 w 6388516"/>
              <a:gd name="connsiteY2" fmla="*/ 0 h 6581108"/>
              <a:gd name="connsiteX3" fmla="*/ 5233111 w 6388516"/>
              <a:gd name="connsiteY3" fmla="*/ 437115 h 6581108"/>
              <a:gd name="connsiteX4" fmla="*/ 6388516 w 6388516"/>
              <a:gd name="connsiteY4" fmla="*/ 4898424 h 6581108"/>
              <a:gd name="connsiteX5" fmla="*/ 4705832 w 6388516"/>
              <a:gd name="connsiteY5" fmla="*/ 6581108 h 6581108"/>
              <a:gd name="connsiteX6" fmla="*/ 2003537 w 6388516"/>
              <a:gd name="connsiteY6" fmla="*/ 6581108 h 6581108"/>
              <a:gd name="connsiteX7" fmla="*/ 742469 w 6388516"/>
              <a:gd name="connsiteY7" fmla="*/ 5280345 h 6581108"/>
              <a:gd name="connsiteX8" fmla="*/ 52629 w 6388516"/>
              <a:gd name="connsiteY8" fmla="*/ 2706812 h 6581108"/>
              <a:gd name="connsiteX0" fmla="*/ 52629 w 6388516"/>
              <a:gd name="connsiteY0" fmla="*/ 2706812 h 6581108"/>
              <a:gd name="connsiteX1" fmla="*/ 1473043 w 6388516"/>
              <a:gd name="connsiteY1" fmla="*/ 639939 h 6581108"/>
              <a:gd name="connsiteX2" fmla="*/ 3864584 w 6388516"/>
              <a:gd name="connsiteY2" fmla="*/ 0 h 6581108"/>
              <a:gd name="connsiteX3" fmla="*/ 5233111 w 6388516"/>
              <a:gd name="connsiteY3" fmla="*/ 437115 h 6581108"/>
              <a:gd name="connsiteX4" fmla="*/ 6388516 w 6388516"/>
              <a:gd name="connsiteY4" fmla="*/ 4898424 h 6581108"/>
              <a:gd name="connsiteX5" fmla="*/ 4705832 w 6388516"/>
              <a:gd name="connsiteY5" fmla="*/ 6581108 h 6581108"/>
              <a:gd name="connsiteX6" fmla="*/ 2003537 w 6388516"/>
              <a:gd name="connsiteY6" fmla="*/ 6581108 h 6581108"/>
              <a:gd name="connsiteX7" fmla="*/ 742469 w 6388516"/>
              <a:gd name="connsiteY7" fmla="*/ 5280345 h 6581108"/>
              <a:gd name="connsiteX8" fmla="*/ 52629 w 6388516"/>
              <a:gd name="connsiteY8" fmla="*/ 2706812 h 6581108"/>
              <a:gd name="connsiteX0" fmla="*/ 52629 w 6388516"/>
              <a:gd name="connsiteY0" fmla="*/ 2706812 h 6581108"/>
              <a:gd name="connsiteX1" fmla="*/ 1473043 w 6388516"/>
              <a:gd name="connsiteY1" fmla="*/ 639939 h 6581108"/>
              <a:gd name="connsiteX2" fmla="*/ 3864584 w 6388516"/>
              <a:gd name="connsiteY2" fmla="*/ 0 h 6581108"/>
              <a:gd name="connsiteX3" fmla="*/ 5233111 w 6388516"/>
              <a:gd name="connsiteY3" fmla="*/ 437115 h 6581108"/>
              <a:gd name="connsiteX4" fmla="*/ 6388516 w 6388516"/>
              <a:gd name="connsiteY4" fmla="*/ 4898424 h 6581108"/>
              <a:gd name="connsiteX5" fmla="*/ 4705832 w 6388516"/>
              <a:gd name="connsiteY5" fmla="*/ 6581108 h 6581108"/>
              <a:gd name="connsiteX6" fmla="*/ 6150235 w 6388516"/>
              <a:gd name="connsiteY6" fmla="*/ 5333554 h 6581108"/>
              <a:gd name="connsiteX7" fmla="*/ 742469 w 6388516"/>
              <a:gd name="connsiteY7" fmla="*/ 5280345 h 6581108"/>
              <a:gd name="connsiteX8" fmla="*/ 52629 w 6388516"/>
              <a:gd name="connsiteY8" fmla="*/ 2706812 h 6581108"/>
              <a:gd name="connsiteX0" fmla="*/ 52629 w 6687314"/>
              <a:gd name="connsiteY0" fmla="*/ 2706812 h 5707637"/>
              <a:gd name="connsiteX1" fmla="*/ 1473043 w 6687314"/>
              <a:gd name="connsiteY1" fmla="*/ 639939 h 5707637"/>
              <a:gd name="connsiteX2" fmla="*/ 3864584 w 6687314"/>
              <a:gd name="connsiteY2" fmla="*/ 0 h 5707637"/>
              <a:gd name="connsiteX3" fmla="*/ 5233111 w 6687314"/>
              <a:gd name="connsiteY3" fmla="*/ 437115 h 5707637"/>
              <a:gd name="connsiteX4" fmla="*/ 6388516 w 6687314"/>
              <a:gd name="connsiteY4" fmla="*/ 4898424 h 5707637"/>
              <a:gd name="connsiteX5" fmla="*/ 6150235 w 6687314"/>
              <a:gd name="connsiteY5" fmla="*/ 5333554 h 5707637"/>
              <a:gd name="connsiteX6" fmla="*/ 742469 w 6687314"/>
              <a:gd name="connsiteY6" fmla="*/ 5280345 h 5707637"/>
              <a:gd name="connsiteX7" fmla="*/ 52629 w 6687314"/>
              <a:gd name="connsiteY7" fmla="*/ 2706812 h 5707637"/>
              <a:gd name="connsiteX0" fmla="*/ 52629 w 6687314"/>
              <a:gd name="connsiteY0" fmla="*/ 2706812 h 5710994"/>
              <a:gd name="connsiteX1" fmla="*/ 1473043 w 6687314"/>
              <a:gd name="connsiteY1" fmla="*/ 639939 h 5710994"/>
              <a:gd name="connsiteX2" fmla="*/ 3864584 w 6687314"/>
              <a:gd name="connsiteY2" fmla="*/ 0 h 5710994"/>
              <a:gd name="connsiteX3" fmla="*/ 5233111 w 6687314"/>
              <a:gd name="connsiteY3" fmla="*/ 437115 h 5710994"/>
              <a:gd name="connsiteX4" fmla="*/ 6388516 w 6687314"/>
              <a:gd name="connsiteY4" fmla="*/ 4898424 h 5710994"/>
              <a:gd name="connsiteX5" fmla="*/ 6150235 w 6687314"/>
              <a:gd name="connsiteY5" fmla="*/ 5333554 h 5710994"/>
              <a:gd name="connsiteX6" fmla="*/ 742469 w 6687314"/>
              <a:gd name="connsiteY6" fmla="*/ 5280345 h 5710994"/>
              <a:gd name="connsiteX7" fmla="*/ 52629 w 6687314"/>
              <a:gd name="connsiteY7" fmla="*/ 2706812 h 5710994"/>
              <a:gd name="connsiteX0" fmla="*/ 52629 w 6426893"/>
              <a:gd name="connsiteY0" fmla="*/ 2706812 h 5710994"/>
              <a:gd name="connsiteX1" fmla="*/ 1473043 w 6426893"/>
              <a:gd name="connsiteY1" fmla="*/ 639939 h 5710994"/>
              <a:gd name="connsiteX2" fmla="*/ 3864584 w 6426893"/>
              <a:gd name="connsiteY2" fmla="*/ 0 h 5710994"/>
              <a:gd name="connsiteX3" fmla="*/ 5233111 w 6426893"/>
              <a:gd name="connsiteY3" fmla="*/ 437115 h 5710994"/>
              <a:gd name="connsiteX4" fmla="*/ 6388516 w 6426893"/>
              <a:gd name="connsiteY4" fmla="*/ 4898424 h 5710994"/>
              <a:gd name="connsiteX5" fmla="*/ 6150235 w 6426893"/>
              <a:gd name="connsiteY5" fmla="*/ 5333554 h 5710994"/>
              <a:gd name="connsiteX6" fmla="*/ 742469 w 6426893"/>
              <a:gd name="connsiteY6" fmla="*/ 5280345 h 5710994"/>
              <a:gd name="connsiteX7" fmla="*/ 52629 w 6426893"/>
              <a:gd name="connsiteY7" fmla="*/ 2706812 h 5710994"/>
              <a:gd name="connsiteX0" fmla="*/ 52629 w 6388516"/>
              <a:gd name="connsiteY0" fmla="*/ 2706812 h 5710994"/>
              <a:gd name="connsiteX1" fmla="*/ 1473043 w 6388516"/>
              <a:gd name="connsiteY1" fmla="*/ 639939 h 5710994"/>
              <a:gd name="connsiteX2" fmla="*/ 3864584 w 6388516"/>
              <a:gd name="connsiteY2" fmla="*/ 0 h 5710994"/>
              <a:gd name="connsiteX3" fmla="*/ 5233111 w 6388516"/>
              <a:gd name="connsiteY3" fmla="*/ 437115 h 5710994"/>
              <a:gd name="connsiteX4" fmla="*/ 6388516 w 6388516"/>
              <a:gd name="connsiteY4" fmla="*/ 4898424 h 5710994"/>
              <a:gd name="connsiteX5" fmla="*/ 6150235 w 6388516"/>
              <a:gd name="connsiteY5" fmla="*/ 5333554 h 5710994"/>
              <a:gd name="connsiteX6" fmla="*/ 742469 w 6388516"/>
              <a:gd name="connsiteY6" fmla="*/ 5280345 h 5710994"/>
              <a:gd name="connsiteX7" fmla="*/ 52629 w 6388516"/>
              <a:gd name="connsiteY7" fmla="*/ 2706812 h 5710994"/>
              <a:gd name="connsiteX0" fmla="*/ 52629 w 6388516"/>
              <a:gd name="connsiteY0" fmla="*/ 2737529 h 5741711"/>
              <a:gd name="connsiteX1" fmla="*/ 1473043 w 6388516"/>
              <a:gd name="connsiteY1" fmla="*/ 670656 h 5741711"/>
              <a:gd name="connsiteX2" fmla="*/ 3864584 w 6388516"/>
              <a:gd name="connsiteY2" fmla="*/ 30717 h 5741711"/>
              <a:gd name="connsiteX3" fmla="*/ 5374879 w 6388516"/>
              <a:gd name="connsiteY3" fmla="*/ 0 h 5741711"/>
              <a:gd name="connsiteX4" fmla="*/ 6388516 w 6388516"/>
              <a:gd name="connsiteY4" fmla="*/ 4929141 h 5741711"/>
              <a:gd name="connsiteX5" fmla="*/ 6150235 w 6388516"/>
              <a:gd name="connsiteY5" fmla="*/ 5364271 h 5741711"/>
              <a:gd name="connsiteX6" fmla="*/ 742469 w 6388516"/>
              <a:gd name="connsiteY6" fmla="*/ 5311062 h 5741711"/>
              <a:gd name="connsiteX7" fmla="*/ 52629 w 6388516"/>
              <a:gd name="connsiteY7" fmla="*/ 2737529 h 5741711"/>
              <a:gd name="connsiteX0" fmla="*/ 52629 w 6388516"/>
              <a:gd name="connsiteY0" fmla="*/ 2737529 h 5366963"/>
              <a:gd name="connsiteX1" fmla="*/ 1473043 w 6388516"/>
              <a:gd name="connsiteY1" fmla="*/ 670656 h 5366963"/>
              <a:gd name="connsiteX2" fmla="*/ 3864584 w 6388516"/>
              <a:gd name="connsiteY2" fmla="*/ 30717 h 5366963"/>
              <a:gd name="connsiteX3" fmla="*/ 5374879 w 6388516"/>
              <a:gd name="connsiteY3" fmla="*/ 0 h 5366963"/>
              <a:gd name="connsiteX4" fmla="*/ 6388516 w 6388516"/>
              <a:gd name="connsiteY4" fmla="*/ 4929141 h 5366963"/>
              <a:gd name="connsiteX5" fmla="*/ 6150235 w 6388516"/>
              <a:gd name="connsiteY5" fmla="*/ 5364271 h 5366963"/>
              <a:gd name="connsiteX6" fmla="*/ 742469 w 6388516"/>
              <a:gd name="connsiteY6" fmla="*/ 5311062 h 5366963"/>
              <a:gd name="connsiteX7" fmla="*/ 52629 w 6388516"/>
              <a:gd name="connsiteY7" fmla="*/ 2737529 h 5366963"/>
              <a:gd name="connsiteX0" fmla="*/ 52629 w 6388516"/>
              <a:gd name="connsiteY0" fmla="*/ 2737529 h 5323423"/>
              <a:gd name="connsiteX1" fmla="*/ 1473043 w 6388516"/>
              <a:gd name="connsiteY1" fmla="*/ 670656 h 5323423"/>
              <a:gd name="connsiteX2" fmla="*/ 3864584 w 6388516"/>
              <a:gd name="connsiteY2" fmla="*/ 30717 h 5323423"/>
              <a:gd name="connsiteX3" fmla="*/ 5374879 w 6388516"/>
              <a:gd name="connsiteY3" fmla="*/ 0 h 5323423"/>
              <a:gd name="connsiteX4" fmla="*/ 6388516 w 6388516"/>
              <a:gd name="connsiteY4" fmla="*/ 4929141 h 5323423"/>
              <a:gd name="connsiteX5" fmla="*/ 6171500 w 6388516"/>
              <a:gd name="connsiteY5" fmla="*/ 5307564 h 5323423"/>
              <a:gd name="connsiteX6" fmla="*/ 742469 w 6388516"/>
              <a:gd name="connsiteY6" fmla="*/ 5311062 h 5323423"/>
              <a:gd name="connsiteX7" fmla="*/ 52629 w 6388516"/>
              <a:gd name="connsiteY7" fmla="*/ 2737529 h 5323423"/>
              <a:gd name="connsiteX0" fmla="*/ 52629 w 6171557"/>
              <a:gd name="connsiteY0" fmla="*/ 2737529 h 5323423"/>
              <a:gd name="connsiteX1" fmla="*/ 1473043 w 6171557"/>
              <a:gd name="connsiteY1" fmla="*/ 670656 h 5323423"/>
              <a:gd name="connsiteX2" fmla="*/ 3864584 w 6171557"/>
              <a:gd name="connsiteY2" fmla="*/ 30717 h 5323423"/>
              <a:gd name="connsiteX3" fmla="*/ 5374879 w 6171557"/>
              <a:gd name="connsiteY3" fmla="*/ 0 h 5323423"/>
              <a:gd name="connsiteX4" fmla="*/ 6171500 w 6171557"/>
              <a:gd name="connsiteY4" fmla="*/ 5307564 h 5323423"/>
              <a:gd name="connsiteX5" fmla="*/ 742469 w 6171557"/>
              <a:gd name="connsiteY5" fmla="*/ 5311062 h 5323423"/>
              <a:gd name="connsiteX6" fmla="*/ 52629 w 6171557"/>
              <a:gd name="connsiteY6" fmla="*/ 2737529 h 5323423"/>
              <a:gd name="connsiteX0" fmla="*/ 52629 w 6171557"/>
              <a:gd name="connsiteY0" fmla="*/ 2706812 h 5292706"/>
              <a:gd name="connsiteX1" fmla="*/ 1473043 w 6171557"/>
              <a:gd name="connsiteY1" fmla="*/ 639939 h 5292706"/>
              <a:gd name="connsiteX2" fmla="*/ 3864584 w 6171557"/>
              <a:gd name="connsiteY2" fmla="*/ 0 h 5292706"/>
              <a:gd name="connsiteX3" fmla="*/ 5183493 w 6171557"/>
              <a:gd name="connsiteY3" fmla="*/ 25990 h 5292706"/>
              <a:gd name="connsiteX4" fmla="*/ 6171500 w 6171557"/>
              <a:gd name="connsiteY4" fmla="*/ 5276847 h 5292706"/>
              <a:gd name="connsiteX5" fmla="*/ 742469 w 6171557"/>
              <a:gd name="connsiteY5" fmla="*/ 5280345 h 5292706"/>
              <a:gd name="connsiteX6" fmla="*/ 52629 w 6171557"/>
              <a:gd name="connsiteY6" fmla="*/ 2706812 h 5292706"/>
              <a:gd name="connsiteX0" fmla="*/ 52629 w 5250081"/>
              <a:gd name="connsiteY0" fmla="*/ 2706812 h 5295711"/>
              <a:gd name="connsiteX1" fmla="*/ 1473043 w 5250081"/>
              <a:gd name="connsiteY1" fmla="*/ 639939 h 5295711"/>
              <a:gd name="connsiteX2" fmla="*/ 3864584 w 5250081"/>
              <a:gd name="connsiteY2" fmla="*/ 0 h 5295711"/>
              <a:gd name="connsiteX3" fmla="*/ 5183493 w 5250081"/>
              <a:gd name="connsiteY3" fmla="*/ 25990 h 5295711"/>
              <a:gd name="connsiteX4" fmla="*/ 5250012 w 5250081"/>
              <a:gd name="connsiteY4" fmla="*/ 5283936 h 5295711"/>
              <a:gd name="connsiteX5" fmla="*/ 742469 w 5250081"/>
              <a:gd name="connsiteY5" fmla="*/ 5280345 h 5295711"/>
              <a:gd name="connsiteX6" fmla="*/ 52629 w 5250081"/>
              <a:gd name="connsiteY6" fmla="*/ 2706812 h 5295711"/>
              <a:gd name="connsiteX0" fmla="*/ 52629 w 5250081"/>
              <a:gd name="connsiteY0" fmla="*/ 2680822 h 5269721"/>
              <a:gd name="connsiteX1" fmla="*/ 1473043 w 5250081"/>
              <a:gd name="connsiteY1" fmla="*/ 613949 h 5269721"/>
              <a:gd name="connsiteX2" fmla="*/ 3729117 w 5250081"/>
              <a:gd name="connsiteY2" fmla="*/ 7877 h 5269721"/>
              <a:gd name="connsiteX3" fmla="*/ 5183493 w 5250081"/>
              <a:gd name="connsiteY3" fmla="*/ 0 h 5269721"/>
              <a:gd name="connsiteX4" fmla="*/ 5250012 w 5250081"/>
              <a:gd name="connsiteY4" fmla="*/ 5257946 h 5269721"/>
              <a:gd name="connsiteX5" fmla="*/ 742469 w 5250081"/>
              <a:gd name="connsiteY5" fmla="*/ 5254355 h 5269721"/>
              <a:gd name="connsiteX6" fmla="*/ 52629 w 5250081"/>
              <a:gd name="connsiteY6" fmla="*/ 2680822 h 5269721"/>
              <a:gd name="connsiteX0" fmla="*/ 52629 w 5250081"/>
              <a:gd name="connsiteY0" fmla="*/ 2672945 h 5261844"/>
              <a:gd name="connsiteX1" fmla="*/ 1473043 w 5250081"/>
              <a:gd name="connsiteY1" fmla="*/ 606072 h 5261844"/>
              <a:gd name="connsiteX2" fmla="*/ 3729117 w 5250081"/>
              <a:gd name="connsiteY2" fmla="*/ 0 h 5261844"/>
              <a:gd name="connsiteX3" fmla="*/ 4523093 w 5250081"/>
              <a:gd name="connsiteY3" fmla="*/ 590 h 5261844"/>
              <a:gd name="connsiteX4" fmla="*/ 5250012 w 5250081"/>
              <a:gd name="connsiteY4" fmla="*/ 5250069 h 5261844"/>
              <a:gd name="connsiteX5" fmla="*/ 742469 w 5250081"/>
              <a:gd name="connsiteY5" fmla="*/ 5246478 h 5261844"/>
              <a:gd name="connsiteX6" fmla="*/ 52629 w 5250081"/>
              <a:gd name="connsiteY6" fmla="*/ 2672945 h 5261844"/>
              <a:gd name="connsiteX0" fmla="*/ 52629 w 4564294"/>
              <a:gd name="connsiteY0" fmla="*/ 2672945 h 5261844"/>
              <a:gd name="connsiteX1" fmla="*/ 1473043 w 4564294"/>
              <a:gd name="connsiteY1" fmla="*/ 606072 h 5261844"/>
              <a:gd name="connsiteX2" fmla="*/ 3729117 w 4564294"/>
              <a:gd name="connsiteY2" fmla="*/ 0 h 5261844"/>
              <a:gd name="connsiteX3" fmla="*/ 4523093 w 4564294"/>
              <a:gd name="connsiteY3" fmla="*/ 590 h 5261844"/>
              <a:gd name="connsiteX4" fmla="*/ 4564212 w 4564294"/>
              <a:gd name="connsiteY4" fmla="*/ 5250069 h 5261844"/>
              <a:gd name="connsiteX5" fmla="*/ 742469 w 4564294"/>
              <a:gd name="connsiteY5" fmla="*/ 5246478 h 5261844"/>
              <a:gd name="connsiteX6" fmla="*/ 52629 w 4564294"/>
              <a:gd name="connsiteY6" fmla="*/ 2672945 h 5261844"/>
              <a:gd name="connsiteX0" fmla="*/ 52629 w 4564294"/>
              <a:gd name="connsiteY0" fmla="*/ 2672945 h 5351078"/>
              <a:gd name="connsiteX1" fmla="*/ 1473043 w 4564294"/>
              <a:gd name="connsiteY1" fmla="*/ 606072 h 5351078"/>
              <a:gd name="connsiteX2" fmla="*/ 3729117 w 4564294"/>
              <a:gd name="connsiteY2" fmla="*/ 0 h 5351078"/>
              <a:gd name="connsiteX3" fmla="*/ 4523093 w 4564294"/>
              <a:gd name="connsiteY3" fmla="*/ 590 h 5351078"/>
              <a:gd name="connsiteX4" fmla="*/ 4564212 w 4564294"/>
              <a:gd name="connsiteY4" fmla="*/ 5250069 h 5351078"/>
              <a:gd name="connsiteX5" fmla="*/ 767869 w 4564294"/>
              <a:gd name="connsiteY5" fmla="*/ 5348078 h 5351078"/>
              <a:gd name="connsiteX6" fmla="*/ 52629 w 4564294"/>
              <a:gd name="connsiteY6" fmla="*/ 2672945 h 5351078"/>
              <a:gd name="connsiteX0" fmla="*/ 52629 w 4564294"/>
              <a:gd name="connsiteY0" fmla="*/ 2672945 h 5363444"/>
              <a:gd name="connsiteX1" fmla="*/ 1473043 w 4564294"/>
              <a:gd name="connsiteY1" fmla="*/ 606072 h 5363444"/>
              <a:gd name="connsiteX2" fmla="*/ 3729117 w 4564294"/>
              <a:gd name="connsiteY2" fmla="*/ 0 h 5363444"/>
              <a:gd name="connsiteX3" fmla="*/ 4523093 w 4564294"/>
              <a:gd name="connsiteY3" fmla="*/ 590 h 5363444"/>
              <a:gd name="connsiteX4" fmla="*/ 4564212 w 4564294"/>
              <a:gd name="connsiteY4" fmla="*/ 5351669 h 5363444"/>
              <a:gd name="connsiteX5" fmla="*/ 767869 w 4564294"/>
              <a:gd name="connsiteY5" fmla="*/ 5348078 h 5363444"/>
              <a:gd name="connsiteX6" fmla="*/ 52629 w 4564294"/>
              <a:gd name="connsiteY6" fmla="*/ 2672945 h 5363444"/>
              <a:gd name="connsiteX0" fmla="*/ 60717 w 4572382"/>
              <a:gd name="connsiteY0" fmla="*/ 2672945 h 5363444"/>
              <a:gd name="connsiteX1" fmla="*/ 1481131 w 4572382"/>
              <a:gd name="connsiteY1" fmla="*/ 606072 h 5363444"/>
              <a:gd name="connsiteX2" fmla="*/ 3737205 w 4572382"/>
              <a:gd name="connsiteY2" fmla="*/ 0 h 5363444"/>
              <a:gd name="connsiteX3" fmla="*/ 4531181 w 4572382"/>
              <a:gd name="connsiteY3" fmla="*/ 590 h 5363444"/>
              <a:gd name="connsiteX4" fmla="*/ 4572300 w 4572382"/>
              <a:gd name="connsiteY4" fmla="*/ 5351669 h 5363444"/>
              <a:gd name="connsiteX5" fmla="*/ 775957 w 4572382"/>
              <a:gd name="connsiteY5" fmla="*/ 5348078 h 5363444"/>
              <a:gd name="connsiteX6" fmla="*/ 60717 w 4572382"/>
              <a:gd name="connsiteY6" fmla="*/ 2672945 h 5363444"/>
              <a:gd name="connsiteX0" fmla="*/ 60717 w 4572382"/>
              <a:gd name="connsiteY0" fmla="*/ 2672945 h 5363444"/>
              <a:gd name="connsiteX1" fmla="*/ 1481131 w 4572382"/>
              <a:gd name="connsiteY1" fmla="*/ 606072 h 5363444"/>
              <a:gd name="connsiteX2" fmla="*/ 3737205 w 4572382"/>
              <a:gd name="connsiteY2" fmla="*/ 0 h 5363444"/>
              <a:gd name="connsiteX3" fmla="*/ 4531181 w 4572382"/>
              <a:gd name="connsiteY3" fmla="*/ 590 h 5363444"/>
              <a:gd name="connsiteX4" fmla="*/ 4572300 w 4572382"/>
              <a:gd name="connsiteY4" fmla="*/ 5351669 h 5363444"/>
              <a:gd name="connsiteX5" fmla="*/ 775957 w 4572382"/>
              <a:gd name="connsiteY5" fmla="*/ 5348078 h 5363444"/>
              <a:gd name="connsiteX6" fmla="*/ 60717 w 4572382"/>
              <a:gd name="connsiteY6" fmla="*/ 2672945 h 5363444"/>
              <a:gd name="connsiteX0" fmla="*/ 61203 w 4572868"/>
              <a:gd name="connsiteY0" fmla="*/ 2672945 h 5363444"/>
              <a:gd name="connsiteX1" fmla="*/ 1481617 w 4572868"/>
              <a:gd name="connsiteY1" fmla="*/ 606072 h 5363444"/>
              <a:gd name="connsiteX2" fmla="*/ 3737691 w 4572868"/>
              <a:gd name="connsiteY2" fmla="*/ 0 h 5363444"/>
              <a:gd name="connsiteX3" fmla="*/ 4531667 w 4572868"/>
              <a:gd name="connsiteY3" fmla="*/ 590 h 5363444"/>
              <a:gd name="connsiteX4" fmla="*/ 4572786 w 4572868"/>
              <a:gd name="connsiteY4" fmla="*/ 5351669 h 5363444"/>
              <a:gd name="connsiteX5" fmla="*/ 776443 w 4572868"/>
              <a:gd name="connsiteY5" fmla="*/ 5348078 h 5363444"/>
              <a:gd name="connsiteX6" fmla="*/ 61203 w 4572868"/>
              <a:gd name="connsiteY6" fmla="*/ 2672945 h 5363444"/>
              <a:gd name="connsiteX0" fmla="*/ 81117 w 4592782"/>
              <a:gd name="connsiteY0" fmla="*/ 2672945 h 5363444"/>
              <a:gd name="connsiteX1" fmla="*/ 1501531 w 4592782"/>
              <a:gd name="connsiteY1" fmla="*/ 606072 h 5363444"/>
              <a:gd name="connsiteX2" fmla="*/ 3757605 w 4592782"/>
              <a:gd name="connsiteY2" fmla="*/ 0 h 5363444"/>
              <a:gd name="connsiteX3" fmla="*/ 4551581 w 4592782"/>
              <a:gd name="connsiteY3" fmla="*/ 590 h 5363444"/>
              <a:gd name="connsiteX4" fmla="*/ 4592700 w 4592782"/>
              <a:gd name="connsiteY4" fmla="*/ 5351669 h 5363444"/>
              <a:gd name="connsiteX5" fmla="*/ 796357 w 4592782"/>
              <a:gd name="connsiteY5" fmla="*/ 5348078 h 5363444"/>
              <a:gd name="connsiteX6" fmla="*/ 81117 w 4592782"/>
              <a:gd name="connsiteY6" fmla="*/ 2672945 h 5363444"/>
              <a:gd name="connsiteX0" fmla="*/ 102028 w 4613693"/>
              <a:gd name="connsiteY0" fmla="*/ 2672945 h 5363444"/>
              <a:gd name="connsiteX1" fmla="*/ 1522442 w 4613693"/>
              <a:gd name="connsiteY1" fmla="*/ 606072 h 5363444"/>
              <a:gd name="connsiteX2" fmla="*/ 3778516 w 4613693"/>
              <a:gd name="connsiteY2" fmla="*/ 0 h 5363444"/>
              <a:gd name="connsiteX3" fmla="*/ 4572492 w 4613693"/>
              <a:gd name="connsiteY3" fmla="*/ 590 h 5363444"/>
              <a:gd name="connsiteX4" fmla="*/ 4613611 w 4613693"/>
              <a:gd name="connsiteY4" fmla="*/ 5351669 h 5363444"/>
              <a:gd name="connsiteX5" fmla="*/ 817268 w 4613693"/>
              <a:gd name="connsiteY5" fmla="*/ 5348078 h 5363444"/>
              <a:gd name="connsiteX6" fmla="*/ 102028 w 4613693"/>
              <a:gd name="connsiteY6" fmla="*/ 2672945 h 5363444"/>
              <a:gd name="connsiteX0" fmla="*/ 105398 w 4617063"/>
              <a:gd name="connsiteY0" fmla="*/ 2672945 h 5363444"/>
              <a:gd name="connsiteX1" fmla="*/ 1525812 w 4617063"/>
              <a:gd name="connsiteY1" fmla="*/ 606072 h 5363444"/>
              <a:gd name="connsiteX2" fmla="*/ 3781886 w 4617063"/>
              <a:gd name="connsiteY2" fmla="*/ 0 h 5363444"/>
              <a:gd name="connsiteX3" fmla="*/ 4575862 w 4617063"/>
              <a:gd name="connsiteY3" fmla="*/ 590 h 5363444"/>
              <a:gd name="connsiteX4" fmla="*/ 4616981 w 4617063"/>
              <a:gd name="connsiteY4" fmla="*/ 5351669 h 5363444"/>
              <a:gd name="connsiteX5" fmla="*/ 820638 w 4617063"/>
              <a:gd name="connsiteY5" fmla="*/ 5348078 h 5363444"/>
              <a:gd name="connsiteX6" fmla="*/ 105398 w 4617063"/>
              <a:gd name="connsiteY6" fmla="*/ 2672945 h 536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7063" h="5363444">
                <a:moveTo>
                  <a:pt x="105398" y="2672945"/>
                </a:moveTo>
                <a:cubicBezTo>
                  <a:pt x="-289015" y="1386001"/>
                  <a:pt x="476123" y="891686"/>
                  <a:pt x="1525812" y="606072"/>
                </a:cubicBezTo>
                <a:lnTo>
                  <a:pt x="3781886" y="0"/>
                </a:lnTo>
                <a:cubicBezTo>
                  <a:pt x="3768453" y="7089"/>
                  <a:pt x="4597127" y="21111"/>
                  <a:pt x="4575862" y="590"/>
                </a:cubicBezTo>
                <a:lnTo>
                  <a:pt x="4616981" y="5351669"/>
                </a:lnTo>
                <a:cubicBezTo>
                  <a:pt x="4637502" y="5365846"/>
                  <a:pt x="834814" y="5370088"/>
                  <a:pt x="820638" y="5348078"/>
                </a:cubicBezTo>
                <a:cubicBezTo>
                  <a:pt x="522643" y="4168138"/>
                  <a:pt x="434582" y="3830202"/>
                  <a:pt x="105398" y="2672945"/>
                </a:cubicBezTo>
                <a:close/>
              </a:path>
            </a:pathLst>
          </a:custGeom>
          <a:solidFill>
            <a:schemeClr val="accent1"/>
          </a:solidFill>
          <a:ln w="19050">
            <a:solidFill>
              <a:schemeClr val="accent1"/>
            </a:solidFill>
          </a:ln>
        </p:spPr>
        <p:txBody>
          <a:bodyPr/>
          <a:lstStyle>
            <a:lvl1pPr marL="10584" indent="0">
              <a:buNone/>
              <a:defRPr/>
            </a:lvl1pPr>
          </a:lstStyle>
          <a:p>
            <a:endParaRPr lang="en-US"/>
          </a:p>
        </p:txBody>
      </p:sp>
      <p:pic>
        <p:nvPicPr>
          <p:cNvPr id="4" name="Picture 3">
            <a:extLst>
              <a:ext uri="{FF2B5EF4-FFF2-40B4-BE49-F238E27FC236}">
                <a16:creationId xmlns:a16="http://schemas.microsoft.com/office/drawing/2014/main" id="{26EA09F0-17ED-33B0-0B8C-B4A892C37B07}"/>
              </a:ext>
            </a:extLst>
          </p:cNvPr>
          <p:cNvPicPr>
            <a:picLocks noChangeAspect="1"/>
          </p:cNvPicPr>
          <p:nvPr userDrawn="1"/>
        </p:nvPicPr>
        <p:blipFill>
          <a:blip r:embed="rId5"/>
          <a:srcRect/>
          <a:stretch/>
        </p:blipFill>
        <p:spPr>
          <a:xfrm>
            <a:off x="10477344" y="6352146"/>
            <a:ext cx="1257457" cy="249708"/>
          </a:xfrm>
          <a:prstGeom prst="rect">
            <a:avLst/>
          </a:prstGeom>
        </p:spPr>
      </p:pic>
      <p:sp>
        <p:nvSpPr>
          <p:cNvPr id="37" name="Rectangle 36">
            <a:extLst>
              <a:ext uri="{FF2B5EF4-FFF2-40B4-BE49-F238E27FC236}">
                <a16:creationId xmlns:a16="http://schemas.microsoft.com/office/drawing/2014/main" id="{25A35D57-9403-D93E-6135-2A018C0929CF}"/>
              </a:ext>
            </a:extLst>
          </p:cNvPr>
          <p:cNvSpPr/>
          <p:nvPr userDrawn="1"/>
        </p:nvSpPr>
        <p:spPr>
          <a:xfrm>
            <a:off x="10027297" y="6220409"/>
            <a:ext cx="1990531" cy="5473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a:latin typeface="TT Commons Pro" panose="020B0103030102020204" pitchFamily="34" charset="77"/>
            </a:endParaRPr>
          </a:p>
        </p:txBody>
      </p:sp>
      <p:pic>
        <p:nvPicPr>
          <p:cNvPr id="38" name="Picture 37">
            <a:extLst>
              <a:ext uri="{FF2B5EF4-FFF2-40B4-BE49-F238E27FC236}">
                <a16:creationId xmlns:a16="http://schemas.microsoft.com/office/drawing/2014/main" id="{B18D3FEE-7349-3FE1-D6D4-0E667087F60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477344" y="6364646"/>
            <a:ext cx="1257457" cy="249708"/>
          </a:xfrm>
          <a:prstGeom prst="rect">
            <a:avLst/>
          </a:prstGeom>
        </p:spPr>
      </p:pic>
    </p:spTree>
    <p:extLst>
      <p:ext uri="{BB962C8B-B14F-4D97-AF65-F5344CB8AC3E}">
        <p14:creationId xmlns:p14="http://schemas.microsoft.com/office/powerpoint/2010/main" val="1705084345"/>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tx1"/>
        </a:solidFill>
        <a:effectLst/>
      </p:bgPr>
    </p:bg>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D4910717-0E10-E765-9AB5-2E21058A6F2F}"/>
              </a:ext>
            </a:extLst>
          </p:cNvPr>
          <p:cNvGraphicFramePr>
            <a:graphicFrameLocks noChangeAspect="1"/>
          </p:cNvGraphicFramePr>
          <p:nvPr userDrawn="1">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2" name="think-cell data - do not delete" hidden="1">
                        <a:extLst>
                          <a:ext uri="{FF2B5EF4-FFF2-40B4-BE49-F238E27FC236}">
                            <a16:creationId xmlns:a16="http://schemas.microsoft.com/office/drawing/2014/main" id="{D4910717-0E10-E765-9AB5-2E21058A6F2F}"/>
                          </a:ext>
                        </a:extLst>
                      </p:cNvPr>
                      <p:cNvPicPr/>
                      <p:nvPr/>
                    </p:nvPicPr>
                    <p:blipFill>
                      <a:blip r:embed="rId4"/>
                      <a:stretch>
                        <a:fillRect/>
                      </a:stretch>
                    </p:blipFill>
                    <p:spPr>
                      <a:xfrm>
                        <a:off x="2118" y="2118"/>
                        <a:ext cx="1636" cy="2117"/>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7B50E629-7937-3446-88E8-958A82D15B1B}"/>
              </a:ext>
            </a:extLst>
          </p:cNvPr>
          <p:cNvSpPr>
            <a:spLocks noGrp="1"/>
          </p:cNvSpPr>
          <p:nvPr>
            <p:ph type="subTitle" idx="1"/>
          </p:nvPr>
        </p:nvSpPr>
        <p:spPr>
          <a:xfrm>
            <a:off x="406401" y="3334218"/>
            <a:ext cx="7578103" cy="448559"/>
          </a:xfrm>
        </p:spPr>
        <p:txBody>
          <a:bodyPr/>
          <a:lstStyle>
            <a:lvl1pPr marL="0" indent="0" algn="l">
              <a:buNone/>
              <a:defRPr sz="3200" b="0" i="0">
                <a:solidFill>
                  <a:schemeClr val="bg1">
                    <a:lumMod val="65000"/>
                    <a:lumOff val="35000"/>
                  </a:schemeClr>
                </a:solidFill>
                <a:latin typeface="TT Commons Pro" panose="020B0103030102020204" pitchFamily="34" charset="77"/>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p>
        </p:txBody>
      </p:sp>
      <p:sp>
        <p:nvSpPr>
          <p:cNvPr id="10" name="Text Placeholder 11">
            <a:extLst>
              <a:ext uri="{FF2B5EF4-FFF2-40B4-BE49-F238E27FC236}">
                <a16:creationId xmlns:a16="http://schemas.microsoft.com/office/drawing/2014/main" id="{C368DAE1-A2AD-7D46-951D-F4A57CD8D9E2}"/>
              </a:ext>
            </a:extLst>
          </p:cNvPr>
          <p:cNvSpPr>
            <a:spLocks noGrp="1"/>
          </p:cNvSpPr>
          <p:nvPr>
            <p:ph type="body" sz="quarter" idx="14"/>
          </p:nvPr>
        </p:nvSpPr>
        <p:spPr>
          <a:xfrm>
            <a:off x="406400" y="4007727"/>
            <a:ext cx="7594600" cy="448559"/>
          </a:xfrm>
        </p:spPr>
        <p:txBody>
          <a:bodyPr>
            <a:noAutofit/>
          </a:bodyPr>
          <a:lstStyle>
            <a:lvl1pPr marL="10584"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sz="2133" b="0" i="0">
                <a:solidFill>
                  <a:schemeClr val="bg1">
                    <a:lumMod val="65000"/>
                    <a:lumOff val="35000"/>
                  </a:schemeClr>
                </a:solidFill>
                <a:latin typeface="TT Commons Pro" panose="020B0103030102020204" pitchFamily="34" charset="77"/>
              </a:defRPr>
            </a:lvl1pPr>
            <a:lvl2pPr marL="613818" indent="0">
              <a:buFont typeface="Arial" panose="020B0604020202020204" pitchFamily="34" charset="0"/>
              <a:buNone/>
              <a:defRPr sz="2400">
                <a:solidFill>
                  <a:schemeClr val="bg1"/>
                </a:solidFill>
              </a:defRPr>
            </a:lvl2pPr>
            <a:lvl3pPr marL="1219170" indent="0">
              <a:buNone/>
              <a:defRPr sz="2400">
                <a:solidFill>
                  <a:schemeClr val="bg1"/>
                </a:solidFill>
              </a:defRPr>
            </a:lvl3pPr>
            <a:lvl4pPr marL="1828754" indent="0">
              <a:buNone/>
              <a:defRPr sz="2400">
                <a:solidFill>
                  <a:schemeClr val="bg1"/>
                </a:solidFill>
              </a:defRPr>
            </a:lvl4pPr>
            <a:lvl5pPr marL="2438339" indent="0">
              <a:buNone/>
              <a:defRPr sz="24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E25944BB-B9EA-3248-AF4F-27C6482E0C5A}"/>
              </a:ext>
            </a:extLst>
          </p:cNvPr>
          <p:cNvSpPr>
            <a:spLocks noGrp="1"/>
          </p:cNvSpPr>
          <p:nvPr>
            <p:ph type="title"/>
          </p:nvPr>
        </p:nvSpPr>
        <p:spPr>
          <a:xfrm>
            <a:off x="406400" y="1356462"/>
            <a:ext cx="8331200" cy="1804644"/>
          </a:xfrm>
        </p:spPr>
        <p:txBody>
          <a:bodyPr vert="horz" anchor="b">
            <a:normAutofit/>
          </a:bodyPr>
          <a:lstStyle>
            <a:lvl1pPr>
              <a:defRPr sz="5867" b="0" i="0">
                <a:solidFill>
                  <a:schemeClr val="accent1"/>
                </a:solidFill>
                <a:latin typeface="TT Commons Pro" panose="020B0103030102020204" pitchFamily="34" charset="77"/>
              </a:defRPr>
            </a:lvl1pPr>
          </a:lstStyle>
          <a:p>
            <a:r>
              <a:rPr lang="en-US"/>
              <a:t>Click to edit Master title style</a:t>
            </a:r>
          </a:p>
        </p:txBody>
      </p:sp>
      <p:sp>
        <p:nvSpPr>
          <p:cNvPr id="20" name="Freeform 19">
            <a:extLst>
              <a:ext uri="{FF2B5EF4-FFF2-40B4-BE49-F238E27FC236}">
                <a16:creationId xmlns:a16="http://schemas.microsoft.com/office/drawing/2014/main" id="{D476568E-8D15-DA1A-3E7F-592CE44FCAA7}"/>
              </a:ext>
            </a:extLst>
          </p:cNvPr>
          <p:cNvSpPr/>
          <p:nvPr userDrawn="1"/>
        </p:nvSpPr>
        <p:spPr>
          <a:xfrm rot="1005621">
            <a:off x="8827785" y="4947793"/>
            <a:ext cx="3512331" cy="2512673"/>
          </a:xfrm>
          <a:custGeom>
            <a:avLst/>
            <a:gdLst>
              <a:gd name="connsiteX0" fmla="*/ 924633 w 2634248"/>
              <a:gd name="connsiteY0" fmla="*/ 59163 h 1884505"/>
              <a:gd name="connsiteX1" fmla="*/ 1315959 w 2634248"/>
              <a:gd name="connsiteY1" fmla="*/ 0 h 1884505"/>
              <a:gd name="connsiteX2" fmla="*/ 2305629 w 2634248"/>
              <a:gd name="connsiteY2" fmla="*/ 0 h 1884505"/>
              <a:gd name="connsiteX3" fmla="*/ 2634248 w 2634248"/>
              <a:gd name="connsiteY3" fmla="*/ 1091168 h 1884505"/>
              <a:gd name="connsiteX4" fmla="*/ 0 w 2634248"/>
              <a:gd name="connsiteY4" fmla="*/ 1884505 h 1884505"/>
              <a:gd name="connsiteX5" fmla="*/ 0 w 2634248"/>
              <a:gd name="connsiteY5" fmla="*/ 1315958 h 1884505"/>
              <a:gd name="connsiteX6" fmla="*/ 924633 w 2634248"/>
              <a:gd name="connsiteY6" fmla="*/ 59163 h 188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4248" h="1884505">
                <a:moveTo>
                  <a:pt x="924633" y="59163"/>
                </a:moveTo>
                <a:cubicBezTo>
                  <a:pt x="1048252" y="20713"/>
                  <a:pt x="1179686" y="0"/>
                  <a:pt x="1315959" y="0"/>
                </a:cubicBezTo>
                <a:lnTo>
                  <a:pt x="2305629" y="0"/>
                </a:lnTo>
                <a:lnTo>
                  <a:pt x="2634248" y="1091168"/>
                </a:lnTo>
                <a:lnTo>
                  <a:pt x="0" y="1884505"/>
                </a:lnTo>
                <a:lnTo>
                  <a:pt x="0" y="1315958"/>
                </a:lnTo>
                <a:cubicBezTo>
                  <a:pt x="0" y="725446"/>
                  <a:pt x="388947" y="225778"/>
                  <a:pt x="924633" y="59163"/>
                </a:cubicBezTo>
                <a:close/>
              </a:path>
            </a:pathLst>
          </a:custGeom>
          <a:gradFill>
            <a:gsLst>
              <a:gs pos="96000">
                <a:schemeClr val="bg2">
                  <a:tint val="93000"/>
                  <a:satMod val="150000"/>
                  <a:shade val="98000"/>
                  <a:lumMod val="102000"/>
                </a:schemeClr>
              </a:gs>
              <a:gs pos="76000">
                <a:schemeClr val="bg2">
                  <a:tint val="98000"/>
                  <a:satMod val="130000"/>
                  <a:shade val="90000"/>
                  <a:lumMod val="103000"/>
                </a:schemeClr>
              </a:gs>
              <a:gs pos="49000">
                <a:schemeClr val="bg2">
                  <a:shade val="63000"/>
                  <a:satMod val="120000"/>
                </a:schemeClr>
              </a:gs>
            </a:gsLst>
            <a:lin ang="9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b="0" i="0">
              <a:latin typeface="TT Commons Pro" panose="020B0103030102020204" pitchFamily="34" charset="77"/>
            </a:endParaRPr>
          </a:p>
        </p:txBody>
      </p:sp>
      <p:pic>
        <p:nvPicPr>
          <p:cNvPr id="5" name="Picture 4">
            <a:extLst>
              <a:ext uri="{FF2B5EF4-FFF2-40B4-BE49-F238E27FC236}">
                <a16:creationId xmlns:a16="http://schemas.microsoft.com/office/drawing/2014/main" id="{745A7BDD-8067-C6E3-5AA7-4279470D20F5}"/>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9802719" y="6120386"/>
            <a:ext cx="1728727" cy="343293"/>
          </a:xfrm>
          <a:prstGeom prst="rect">
            <a:avLst/>
          </a:prstGeom>
        </p:spPr>
      </p:pic>
    </p:spTree>
    <p:extLst>
      <p:ext uri="{BB962C8B-B14F-4D97-AF65-F5344CB8AC3E}">
        <p14:creationId xmlns:p14="http://schemas.microsoft.com/office/powerpoint/2010/main" val="31156563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1CC1B-2AD0-C254-53B1-9FEDCAB06D48}"/>
              </a:ext>
            </a:extLst>
          </p:cNvPr>
          <p:cNvSpPr>
            <a:spLocks/>
          </p:cNvSpPr>
          <p:nvPr userDrawn="1"/>
        </p:nvSpPr>
        <p:spPr>
          <a:xfrm>
            <a:off x="1" y="-1"/>
            <a:ext cx="12193524" cy="617294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0" i="0">
              <a:latin typeface="TT Commons Pro" panose="020B0103030102020204" pitchFamily="34" charset="77"/>
            </a:endParaRPr>
          </a:p>
        </p:txBody>
      </p:sp>
      <p:sp>
        <p:nvSpPr>
          <p:cNvPr id="11" name="Picture Placeholder 10">
            <a:extLst>
              <a:ext uri="{FF2B5EF4-FFF2-40B4-BE49-F238E27FC236}">
                <a16:creationId xmlns:a16="http://schemas.microsoft.com/office/drawing/2014/main" id="{EFC23991-F3B8-75F0-DD83-14444B2CB1A7}"/>
              </a:ext>
            </a:extLst>
          </p:cNvPr>
          <p:cNvSpPr>
            <a:spLocks noGrp="1"/>
          </p:cNvSpPr>
          <p:nvPr>
            <p:ph type="pic" sz="quarter" idx="10" hasCustomPrompt="1"/>
          </p:nvPr>
        </p:nvSpPr>
        <p:spPr>
          <a:xfrm>
            <a:off x="0" y="-1"/>
            <a:ext cx="12192000" cy="6172945"/>
          </a:xfrm>
          <a:prstGeom prst="rect">
            <a:avLst/>
          </a:prstGeom>
        </p:spPr>
        <p:txBody>
          <a:bodyPr>
            <a:normAutofit/>
          </a:bodyPr>
          <a:lstStyle>
            <a:lvl1pPr marL="0" indent="0">
              <a:buNone/>
              <a:defRPr sz="1800" b="0" i="0">
                <a:solidFill>
                  <a:schemeClr val="bg2"/>
                </a:solidFill>
              </a:defRPr>
            </a:lvl1pPr>
          </a:lstStyle>
          <a:p>
            <a:r>
              <a:rPr lang="en-US"/>
              <a:t>Click to add image</a:t>
            </a:r>
          </a:p>
        </p:txBody>
      </p:sp>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097280"/>
            <a:ext cx="9753600" cy="2438400"/>
          </a:xfrm>
          <a:prstGeom prst="rect">
            <a:avLst/>
          </a:prstGeom>
          <a:noFill/>
        </p:spPr>
        <p:txBody>
          <a:bodyPr anchor="b">
            <a:normAutofit/>
          </a:bodyPr>
          <a:lstStyle>
            <a:lvl1pPr algn="l">
              <a:defRPr sz="5333" b="1" i="0">
                <a:solidFill>
                  <a:schemeClr val="tx1"/>
                </a:solidFill>
                <a:effectLst>
                  <a:outerShdw blurRad="50800" dist="38100" dir="2700000" algn="tl" rotWithShape="0">
                    <a:prstClr val="black">
                      <a:alpha val="40000"/>
                    </a:prstClr>
                  </a:outerShdw>
                </a:effectLst>
                <a:latin typeface="Tiempos Headline Semibold" panose="02020703060303060403" pitchFamily="18" charset="77"/>
                <a:cs typeface="Times New Roman" panose="02020603050405020304" pitchFamily="18" charset="0"/>
              </a:defRPr>
            </a:lvl1pPr>
          </a:lstStyle>
          <a:p>
            <a:r>
              <a:rPr lang="en-US"/>
              <a:t>Click to add title</a:t>
            </a:r>
          </a:p>
        </p:txBody>
      </p:sp>
      <p:pic>
        <p:nvPicPr>
          <p:cNvPr id="5" name="Picture 4" descr="A logo with a green circle and a black background&#10;&#10;Description automatically generated">
            <a:extLst>
              <a:ext uri="{FF2B5EF4-FFF2-40B4-BE49-F238E27FC236}">
                <a16:creationId xmlns:a16="http://schemas.microsoft.com/office/drawing/2014/main" id="{30455BFA-9674-8B54-2FB2-1CBD1E8EFD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2562" y="6187167"/>
            <a:ext cx="1346511" cy="612051"/>
          </a:xfrm>
          <a:prstGeom prst="rect">
            <a:avLst/>
          </a:prstGeom>
        </p:spPr>
      </p:pic>
      <p:pic>
        <p:nvPicPr>
          <p:cNvPr id="4" name="Picture 3" descr="A swirl of lights in the sky&#10;&#10;AI-generated content may be incorrect.">
            <a:extLst>
              <a:ext uri="{FF2B5EF4-FFF2-40B4-BE49-F238E27FC236}">
                <a16:creationId xmlns:a16="http://schemas.microsoft.com/office/drawing/2014/main" id="{ED97D68F-BB28-AD34-F361-037754165C43}"/>
              </a:ext>
            </a:extLst>
          </p:cNvPr>
          <p:cNvPicPr>
            <a:picLocks noChangeAspect="1"/>
          </p:cNvPicPr>
          <p:nvPr userDrawn="1"/>
        </p:nvPicPr>
        <p:blipFill>
          <a:blip r:embed="rId3"/>
          <a:srcRect t="5593" b="18305"/>
          <a:stretch>
            <a:fillRect/>
          </a:stretch>
        </p:blipFill>
        <p:spPr>
          <a:xfrm>
            <a:off x="0" y="0"/>
            <a:ext cx="12192000" cy="6185547"/>
          </a:xfrm>
          <a:prstGeom prst="rect">
            <a:avLst/>
          </a:prstGeom>
        </p:spPr>
      </p:pic>
    </p:spTree>
    <p:extLst>
      <p:ext uri="{BB962C8B-B14F-4D97-AF65-F5344CB8AC3E}">
        <p14:creationId xmlns:p14="http://schemas.microsoft.com/office/powerpoint/2010/main" val="2512386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Header-Oran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2364182"/>
            <a:ext cx="5730240" cy="1547218"/>
          </a:xfrm>
          <a:prstGeom prst="rect">
            <a:avLst/>
          </a:prstGeom>
        </p:spPr>
        <p:txBody>
          <a:bodyPr anchor="b">
            <a:normAutofit/>
          </a:bodyPr>
          <a:lstStyle>
            <a:lvl1pPr algn="l">
              <a:defRPr sz="5200" b="1" i="0">
                <a:solidFill>
                  <a:schemeClr val="tx2"/>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hasCustomPrompt="1"/>
          </p:nvPr>
        </p:nvSpPr>
        <p:spPr>
          <a:xfrm>
            <a:off x="365760" y="4003476"/>
            <a:ext cx="5730240" cy="945016"/>
          </a:xfrm>
          <a:prstGeom prst="rect">
            <a:avLst/>
          </a:prstGeom>
        </p:spPr>
        <p:txBody>
          <a:bodyPr>
            <a:normAutofit/>
          </a:bodyPr>
          <a:lstStyle>
            <a:lvl1pPr marL="0" indent="0" algn="l">
              <a:buNone/>
              <a:defRPr sz="1800" b="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6" name="Rectangle 5">
            <a:extLst>
              <a:ext uri="{FF2B5EF4-FFF2-40B4-BE49-F238E27FC236}">
                <a16:creationId xmlns:a16="http://schemas.microsoft.com/office/drawing/2014/main" id="{D4C22FCF-3A6E-32CF-4A79-2082FAEC24E4}"/>
              </a:ext>
            </a:extLst>
          </p:cNvPr>
          <p:cNvSpPr/>
          <p:nvPr userDrawn="1"/>
        </p:nvSpPr>
        <p:spPr>
          <a:xfrm>
            <a:off x="9842573" y="0"/>
            <a:ext cx="2349427" cy="6858000"/>
          </a:xfrm>
          <a:prstGeom prst="rect">
            <a:avLst/>
          </a:prstGeom>
          <a:solidFill>
            <a:srgbClr val="FFE5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a:latin typeface="TT Commons Pro Light" panose="020B0103030102020204" pitchFamily="34" charset="77"/>
            </a:endParaRPr>
          </a:p>
        </p:txBody>
      </p:sp>
      <p:pic>
        <p:nvPicPr>
          <p:cNvPr id="10" name="Picture 9" descr="A black background with white dots&#10;&#10;Description automatically generated">
            <a:extLst>
              <a:ext uri="{FF2B5EF4-FFF2-40B4-BE49-F238E27FC236}">
                <a16:creationId xmlns:a16="http://schemas.microsoft.com/office/drawing/2014/main" id="{A910A538-F3E7-77DA-CF61-902BDFE105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76338" y="-1932"/>
            <a:ext cx="3358526" cy="2948787"/>
          </a:xfrm>
          <a:prstGeom prst="rect">
            <a:avLst/>
          </a:prstGeom>
        </p:spPr>
      </p:pic>
      <p:sp>
        <p:nvSpPr>
          <p:cNvPr id="11" name="Picture Placeholder 17">
            <a:extLst>
              <a:ext uri="{FF2B5EF4-FFF2-40B4-BE49-F238E27FC236}">
                <a16:creationId xmlns:a16="http://schemas.microsoft.com/office/drawing/2014/main" id="{C3F8C0CF-6040-3751-023F-59B9D8F63552}"/>
              </a:ext>
            </a:extLst>
          </p:cNvPr>
          <p:cNvSpPr>
            <a:spLocks noGrp="1"/>
          </p:cNvSpPr>
          <p:nvPr>
            <p:ph type="pic" sz="quarter" idx="17" hasCustomPrompt="1"/>
          </p:nvPr>
        </p:nvSpPr>
        <p:spPr>
          <a:xfrm>
            <a:off x="287340" y="301359"/>
            <a:ext cx="1006202" cy="1006202"/>
          </a:xfrm>
          <a:prstGeom prst="ellipse">
            <a:avLst/>
          </a:prstGeom>
        </p:spPr>
        <p:txBody>
          <a:bodyPr>
            <a:normAutofit/>
          </a:bodyPr>
          <a:lstStyle>
            <a:lvl1pPr marL="7938" indent="0">
              <a:buNone/>
              <a:defRPr sz="800" b="0" i="0"/>
            </a:lvl1pPr>
          </a:lstStyle>
          <a:p>
            <a:r>
              <a:rPr lang="en-GB"/>
              <a:t>Click to add picture or icon</a:t>
            </a:r>
          </a:p>
        </p:txBody>
      </p:sp>
      <p:sp>
        <p:nvSpPr>
          <p:cNvPr id="15" name="Text Placeholder 14">
            <a:extLst>
              <a:ext uri="{FF2B5EF4-FFF2-40B4-BE49-F238E27FC236}">
                <a16:creationId xmlns:a16="http://schemas.microsoft.com/office/drawing/2014/main" id="{AD201709-ACA1-CD9F-86A2-A2ED7BC198F9}"/>
              </a:ext>
            </a:extLst>
          </p:cNvPr>
          <p:cNvSpPr>
            <a:spLocks noGrp="1"/>
          </p:cNvSpPr>
          <p:nvPr>
            <p:ph type="body" sz="quarter" idx="18" hasCustomPrompt="1"/>
          </p:nvPr>
        </p:nvSpPr>
        <p:spPr>
          <a:xfrm>
            <a:off x="365125" y="1628775"/>
            <a:ext cx="5730240" cy="601663"/>
          </a:xfrm>
        </p:spPr>
        <p:txBody>
          <a:bodyPr anchor="b">
            <a:normAutofit/>
          </a:bodyPr>
          <a:lstStyle>
            <a:lvl1pPr marL="0" indent="0">
              <a:buNone/>
              <a:defRPr sz="1800" b="0" i="0">
                <a:solidFill>
                  <a:schemeClr val="accent5"/>
                </a:solidFill>
              </a:defRPr>
            </a:lvl1pPr>
          </a:lstStyle>
          <a:p>
            <a:pPr lvl="0"/>
            <a:r>
              <a:rPr lang="en-US"/>
              <a:t>Tagline</a:t>
            </a:r>
          </a:p>
        </p:txBody>
      </p:sp>
      <p:sp>
        <p:nvSpPr>
          <p:cNvPr id="16" name="Picture Placeholder 9">
            <a:extLst>
              <a:ext uri="{FF2B5EF4-FFF2-40B4-BE49-F238E27FC236}">
                <a16:creationId xmlns:a16="http://schemas.microsoft.com/office/drawing/2014/main" id="{461B2082-B7FC-A0B6-D5F6-5079EA40038B}"/>
              </a:ext>
            </a:extLst>
          </p:cNvPr>
          <p:cNvSpPr>
            <a:spLocks noGrp="1"/>
          </p:cNvSpPr>
          <p:nvPr>
            <p:ph type="pic" sz="quarter" idx="13" hasCustomPrompt="1"/>
          </p:nvPr>
        </p:nvSpPr>
        <p:spPr>
          <a:xfrm>
            <a:off x="6409492" y="420393"/>
            <a:ext cx="5356397" cy="5355717"/>
          </a:xfrm>
          <a:prstGeom prst="rect">
            <a:avLst/>
          </a:prstGeom>
          <a:noFill/>
          <a:ln>
            <a:noFill/>
          </a:ln>
        </p:spPr>
        <p:txBody>
          <a:bodyPr lIns="90000">
            <a:normAutofit/>
          </a:bodyPr>
          <a:lstStyle>
            <a:lvl1pPr marL="7938" indent="0">
              <a:buNone/>
              <a:defRPr sz="1200" b="0" i="0">
                <a:solidFill>
                  <a:schemeClr val="tx1"/>
                </a:solidFill>
              </a:defRPr>
            </a:lvl1pPr>
          </a:lstStyle>
          <a:p>
            <a:r>
              <a:rPr lang="en-US"/>
              <a:t>Click in the icon to add picture</a:t>
            </a:r>
          </a:p>
        </p:txBody>
      </p:sp>
    </p:spTree>
    <p:extLst>
      <p:ext uri="{BB962C8B-B14F-4D97-AF65-F5344CB8AC3E}">
        <p14:creationId xmlns:p14="http://schemas.microsoft.com/office/powerpoint/2010/main" val="35673300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Gray">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81304C3-542D-C5EB-593E-65F3066DE2FE}"/>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rcRect/>
          <a:stretch/>
        </p:blipFill>
        <p:spPr>
          <a:xfrm>
            <a:off x="110386" y="1600201"/>
            <a:ext cx="3350895" cy="2948787"/>
          </a:xfrm>
          <a:prstGeom prst="rect">
            <a:avLst/>
          </a:prstGeom>
          <a:effectLst>
            <a:outerShdw blurRad="50800" dist="50800" dir="5400000" algn="ctr" rotWithShape="0">
              <a:srgbClr val="000000">
                <a:alpha val="30000"/>
              </a:srgbClr>
            </a:outerShdw>
          </a:effectLst>
        </p:spPr>
      </p:pic>
      <p:sp>
        <p:nvSpPr>
          <p:cNvPr id="2" name="Title 1">
            <a:extLst>
              <a:ext uri="{FF2B5EF4-FFF2-40B4-BE49-F238E27FC236}">
                <a16:creationId xmlns:a16="http://schemas.microsoft.com/office/drawing/2014/main" id="{A55E397B-DA4A-7D7D-AB5D-ACE1299BF501}"/>
              </a:ext>
            </a:extLst>
          </p:cNvPr>
          <p:cNvSpPr>
            <a:spLocks noGrp="1"/>
          </p:cNvSpPr>
          <p:nvPr>
            <p:ph type="ctrTitle" hasCustomPrompt="1"/>
          </p:nvPr>
        </p:nvSpPr>
        <p:spPr>
          <a:xfrm>
            <a:off x="365760" y="1097280"/>
            <a:ext cx="9753600" cy="2438400"/>
          </a:xfrm>
          <a:prstGeom prst="rect">
            <a:avLst/>
          </a:prstGeom>
        </p:spPr>
        <p:txBody>
          <a:bodyPr anchor="b">
            <a:normAutofit/>
          </a:bodyPr>
          <a:lstStyle>
            <a:lvl1pPr algn="l">
              <a:defRPr sz="7200" b="1" i="0">
                <a:solidFill>
                  <a:schemeClr val="tx1"/>
                </a:solidFill>
                <a:latin typeface="Tiempos Headline Semibold" panose="02020703060303060403" pitchFamily="18" charset="77"/>
                <a:cs typeface="Times New Roman" panose="02020603050405020304" pitchFamily="18" charset="0"/>
              </a:defRPr>
            </a:lvl1pPr>
          </a:lstStyle>
          <a:p>
            <a:r>
              <a:rPr lang="en-US"/>
              <a:t>Click to add title</a:t>
            </a:r>
          </a:p>
        </p:txBody>
      </p:sp>
      <p:sp>
        <p:nvSpPr>
          <p:cNvPr id="3" name="Subtitle 2">
            <a:extLst>
              <a:ext uri="{FF2B5EF4-FFF2-40B4-BE49-F238E27FC236}">
                <a16:creationId xmlns:a16="http://schemas.microsoft.com/office/drawing/2014/main" id="{AA7CD246-A34A-BD4C-9213-B07CAD1FBF82}"/>
              </a:ext>
            </a:extLst>
          </p:cNvPr>
          <p:cNvSpPr>
            <a:spLocks noGrp="1"/>
          </p:cNvSpPr>
          <p:nvPr>
            <p:ph type="subTitle" idx="1"/>
          </p:nvPr>
        </p:nvSpPr>
        <p:spPr>
          <a:xfrm>
            <a:off x="365760" y="3535680"/>
            <a:ext cx="9753600" cy="1655763"/>
          </a:xfrm>
          <a:prstGeom prst="rect">
            <a:avLst/>
          </a:prstGeom>
        </p:spPr>
        <p:txBody>
          <a:bodyPr>
            <a:normAutofit/>
          </a:bodyPr>
          <a:lstStyle>
            <a:lvl1pPr marL="0" indent="0" algn="l">
              <a:buNone/>
              <a:defRPr sz="1800" b="0" i="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582267B7-342F-E79F-C819-12984D2C5CE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
        <p:nvSpPr>
          <p:cNvPr id="4" name="TextBox 3">
            <a:extLst>
              <a:ext uri="{FF2B5EF4-FFF2-40B4-BE49-F238E27FC236}">
                <a16:creationId xmlns:a16="http://schemas.microsoft.com/office/drawing/2014/main" id="{53BE30E5-83DB-27B0-9A6D-AA7290A1EFCD}"/>
              </a:ext>
            </a:extLst>
          </p:cNvPr>
          <p:cNvSpPr txBox="1"/>
          <p:nvPr userDrawn="1">
            <p:extLst>
              <p:ext uri="{1162E1C5-73C7-4A58-AE30-91384D911F3F}">
                <p184:classification xmlns:p184="http://schemas.microsoft.com/office/powerpoint/2018/4/main" val="ftr"/>
              </p:ext>
            </p:extLst>
          </p:nvPr>
        </p:nvSpPr>
        <p:spPr>
          <a:xfrm>
            <a:off x="5185538" y="6642101"/>
            <a:ext cx="1849439" cy="153888"/>
          </a:xfrm>
          <a:prstGeom prst="rect">
            <a:avLst/>
          </a:prstGeom>
        </p:spPr>
        <p:txBody>
          <a:bodyPr horzOverflow="overflow" lIns="0" tIns="0" rIns="0" bIns="0">
            <a:spAutoFit/>
          </a:bodyPr>
          <a:lstStyle/>
          <a:p>
            <a:pPr algn="l"/>
            <a:r>
              <a:rPr lang="en-US" sz="1000">
                <a:solidFill>
                  <a:srgbClr val="D89B2B"/>
                </a:solidFill>
                <a:latin typeface="Default"/>
              </a:rPr>
              <a:t>Confidential - Company Proprietary</a:t>
            </a:r>
          </a:p>
        </p:txBody>
      </p:sp>
    </p:spTree>
    <p:extLst>
      <p:ext uri="{BB962C8B-B14F-4D97-AF65-F5344CB8AC3E}">
        <p14:creationId xmlns:p14="http://schemas.microsoft.com/office/powerpoint/2010/main" val="10818446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KRJA Basic Slide">
    <p:spTree>
      <p:nvGrpSpPr>
        <p:cNvPr id="1" name=""/>
        <p:cNvGrpSpPr/>
        <p:nvPr/>
      </p:nvGrpSpPr>
      <p:grpSpPr>
        <a:xfrm>
          <a:off x="0" y="0"/>
          <a:ext cx="0" cy="0"/>
          <a:chOff x="0" y="0"/>
          <a:chExt cx="0" cy="0"/>
        </a:xfrm>
      </p:grpSpPr>
      <p:pic>
        <p:nvPicPr>
          <p:cNvPr id="9" name="Picture 8" descr="A black background with white dots&#10;&#10;Description automatically generated">
            <a:extLst>
              <a:ext uri="{FF2B5EF4-FFF2-40B4-BE49-F238E27FC236}">
                <a16:creationId xmlns:a16="http://schemas.microsoft.com/office/drawing/2014/main" id="{AE898EC5-9493-9A05-257C-65F7AFE9EB0C}"/>
              </a:ext>
            </a:extLst>
          </p:cNvPr>
          <p:cNvPicPr>
            <a:picLocks noChangeAspect="1"/>
          </p:cNvPicPr>
          <p:nvPr userDrawn="1"/>
        </p:nvPicPr>
        <p:blipFill>
          <a:blip r:embed="rId2" cstate="screen">
            <a:alphaModFix amt="78000"/>
            <a:extLst>
              <a:ext uri="{28A0092B-C50C-407E-A947-70E740481C1C}">
                <a14:useLocalDpi xmlns:a14="http://schemas.microsoft.com/office/drawing/2010/main"/>
              </a:ext>
            </a:extLst>
          </a:blip>
          <a:srcRect t="46312" r="-493"/>
          <a:stretch>
            <a:fillRect/>
          </a:stretch>
        </p:blipFill>
        <p:spPr>
          <a:xfrm>
            <a:off x="8816907" y="0"/>
            <a:ext cx="3375093" cy="1583144"/>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253287" cy="845328"/>
          </a:xfrm>
          <a:prstGeom prst="rect">
            <a:avLst/>
          </a:prstGeom>
        </p:spPr>
        <p:txBody>
          <a:bodyPr anchor="t"/>
          <a:lstStyle>
            <a:lvl1pPr>
              <a:defRPr b="1" i="0">
                <a:latin typeface="Tiempos Headline Semibold" panose="02020703060303060403" pitchFamily="18" charset="77"/>
              </a:defRPr>
            </a:lvl1pPr>
          </a:lstStyle>
          <a:p>
            <a:r>
              <a:rPr lang="en-US"/>
              <a:t>Click to add title</a:t>
            </a:r>
          </a:p>
        </p:txBody>
      </p:sp>
      <p:sp>
        <p:nvSpPr>
          <p:cNvPr id="3" name="Content Placeholder 2">
            <a:extLst>
              <a:ext uri="{FF2B5EF4-FFF2-40B4-BE49-F238E27FC236}">
                <a16:creationId xmlns:a16="http://schemas.microsoft.com/office/drawing/2014/main" id="{2BAF1F4D-D5C4-5811-419A-0C6C83035BB9}"/>
              </a:ext>
            </a:extLst>
          </p:cNvPr>
          <p:cNvSpPr>
            <a:spLocks noGrp="1"/>
          </p:cNvSpPr>
          <p:nvPr>
            <p:ph idx="1"/>
          </p:nvPr>
        </p:nvSpPr>
        <p:spPr>
          <a:xfrm>
            <a:off x="365125" y="1583145"/>
            <a:ext cx="11253288" cy="4283169"/>
          </a:xfrm>
          <a:prstGeom prst="rect">
            <a:avLst/>
          </a:prstGeom>
        </p:spPr>
        <p:txBody>
          <a:bodyPr>
            <a:normAutofit/>
          </a:bodyPr>
          <a:lstStyle>
            <a:lvl1pPr marL="228594" indent="-228594">
              <a:buClr>
                <a:srgbClr val="6584F3"/>
              </a:buClr>
              <a:buSzPct val="100000"/>
              <a:buFont typeface="Wingdings" pitchFamily="2" charset="2"/>
              <a:buChar char="§"/>
              <a:defRPr sz="2133" b="0" i="0"/>
            </a:lvl1pPr>
            <a:lvl2pPr marL="685783" indent="-228594">
              <a:buClr>
                <a:srgbClr val="6584F3"/>
              </a:buClr>
              <a:buFont typeface="Wingdings" pitchFamily="2" charset="2"/>
              <a:buChar char="§"/>
              <a:defRPr sz="1867" b="0" i="0"/>
            </a:lvl2pPr>
            <a:lvl3pPr marL="1142971" indent="-228594">
              <a:buClr>
                <a:srgbClr val="6584F3"/>
              </a:buClr>
              <a:buFont typeface="Wingdings" pitchFamily="2" charset="2"/>
              <a:buChar char="§"/>
              <a:defRPr sz="1600" b="0" i="0"/>
            </a:lvl3pPr>
            <a:lvl4pPr marL="1600160" indent="-228594">
              <a:buClr>
                <a:srgbClr val="6584F3"/>
              </a:buClr>
              <a:buFont typeface="Wingdings" pitchFamily="2" charset="2"/>
              <a:buChar char="§"/>
              <a:defRPr sz="1600" b="0" i="0"/>
            </a:lvl4pPr>
            <a:lvl5pPr marL="2057349" indent="-228594">
              <a:buClr>
                <a:srgbClr val="6584F3"/>
              </a:buClr>
              <a:buFont typeface="Wingdings" pitchFamily="2" charset="2"/>
              <a:buChar char="§"/>
              <a:defRPr sz="1467"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8539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ud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73000"/>
                    </a14:imgEffect>
                  </a14:imgLayer>
                </a14:imgProps>
              </a:ext>
            </a:extLst>
          </a:blip>
          <a:srcRect t="21875" b="21875"/>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atin typeface="Tiempos Headline Semibold" panose="02020703060303060403" pitchFamily="18" charset="77"/>
              </a:defRPr>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4985814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SPACE CLOUD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31D4BE-1026-3ACA-7C34-77C7B5BFF3E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68000"/>
                    </a14:imgEffect>
                  </a14:imgLayer>
                </a14:imgProps>
              </a:ext>
            </a:extLst>
          </a:blip>
          <a:srcRect b="1563"/>
          <a:stretch/>
        </p:blipFill>
        <p:spPr>
          <a:xfrm>
            <a:off x="0" y="-1"/>
            <a:ext cx="12192000" cy="6858001"/>
          </a:xfrm>
          <a:prstGeom prst="rect">
            <a:avLst/>
          </a:prstGeom>
        </p:spPr>
      </p:pic>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73000"/>
                    </a14:imgEffect>
                  </a14:imgLayer>
                </a14:imgProps>
              </a:ext>
            </a:extLst>
          </a:blip>
          <a:srcRect t="21875" b="21875"/>
          <a:stretch/>
        </p:blipFill>
        <p:spPr>
          <a:xfrm>
            <a:off x="0" y="0"/>
            <a:ext cx="12192000" cy="6858000"/>
          </a:xfrm>
          <a:prstGeom prst="rect">
            <a:avLst/>
          </a:prstGeom>
        </p:spPr>
      </p:pic>
      <p:pic>
        <p:nvPicPr>
          <p:cNvPr id="4" name="Picture 3">
            <a:extLst>
              <a:ext uri="{FF2B5EF4-FFF2-40B4-BE49-F238E27FC236}">
                <a16:creationId xmlns:a16="http://schemas.microsoft.com/office/drawing/2014/main" id="{D81DAB34-216D-032A-E133-7692D2C3DC69}"/>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26312787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terconnectivit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31000"/>
                    </a14:imgEffect>
                  </a14:imgLayer>
                </a14:imgProps>
              </a:ext>
            </a:extLst>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atin typeface="Tiempos Headline Semibold" panose="02020703060303060403" pitchFamily="18" charset="77"/>
              </a:defRPr>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0955089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UE HAZE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C04684-DAF7-CD47-53DB-E8292CB8D2C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31000"/>
                    </a14:imgEffect>
                  </a14:imgLayer>
                </a14:imgProps>
              </a:ext>
            </a:extLst>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atin typeface="Tiempos Headline Semibold" panose="02020703060303060403" pitchFamily="18" charset="77"/>
              </a:defRPr>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34818742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UE HAZ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1000"/>
                    </a14:imgEffect>
                    <a14:imgEffect>
                      <a14:brightnessContrast bright="-27000"/>
                    </a14:imgEffect>
                  </a14:imgLayer>
                </a14:imgProps>
              </a:ext>
            </a:extLst>
          </a:blip>
          <a:srcRect t="7812" b="7812"/>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6F47807-432A-75C5-B992-A7369F014A6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98286370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INTERCONNECT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8EB2DD-A715-741B-A447-FA8D95C7550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1000"/>
                    </a14:imgEffect>
                    <a14:imgEffect>
                      <a14:brightnessContrast bright="-27000"/>
                    </a14:imgEffect>
                  </a14:imgLayer>
                </a14:imgProps>
              </a:ext>
            </a:extLst>
          </a:blip>
          <a:srcRect t="7812" b="7812"/>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6F47807-432A-75C5-B992-A7369F014A6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95166196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2ED6BC7-9090-E45F-7EDB-875BFCD9EBAB}"/>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a:latin typeface="TT Commons Pro" panose="020B0103030102020204" pitchFamily="34" charset="77"/>
            </a:endParaRPr>
          </a:p>
        </p:txBody>
      </p:sp>
      <p:pic>
        <p:nvPicPr>
          <p:cNvPr id="8" name="Picture 7" descr="A hand on a dice&#10;&#10;Description automatically generated">
            <a:extLst>
              <a:ext uri="{FF2B5EF4-FFF2-40B4-BE49-F238E27FC236}">
                <a16:creationId xmlns:a16="http://schemas.microsoft.com/office/drawing/2014/main" id="{7E621CE2-82D6-2FCA-B572-B441948B00E4}"/>
              </a:ext>
            </a:extLst>
          </p:cNvPr>
          <p:cNvPicPr>
            <a:picLocks/>
          </p:cNvPicPr>
          <p:nvPr userDrawn="1"/>
        </p:nvPicPr>
        <p:blipFill>
          <a:blip r:embed="rId2">
            <a:alphaModFix amt="20000"/>
          </a:blip>
          <a:srcRect l="5075" r="5075" b="5904"/>
          <a:stretch>
            <a:fillRect/>
          </a:stretch>
        </p:blipFill>
        <p:spPr>
          <a:xfrm>
            <a:off x="-2" y="-1"/>
            <a:ext cx="12192001" cy="6858001"/>
          </a:xfrm>
          <a:prstGeom prst="rect">
            <a:avLst/>
          </a:prstGeom>
          <a:effectLst>
            <a:reflection blurRad="6350" stA="50000" endA="300" endPos="55500" dir="5400000" sy="-100000" algn="bl" rotWithShape="0"/>
          </a:effectLst>
        </p:spPr>
      </p:pic>
      <p:sp>
        <p:nvSpPr>
          <p:cNvPr id="2" name="Title 1">
            <a:extLst>
              <a:ext uri="{FF2B5EF4-FFF2-40B4-BE49-F238E27FC236}">
                <a16:creationId xmlns:a16="http://schemas.microsoft.com/office/drawing/2014/main" id="{935EE5F6-901C-A4CA-F719-D36F6A603AF4}"/>
              </a:ext>
            </a:extLst>
          </p:cNvPr>
          <p:cNvSpPr>
            <a:spLocks noGrp="1"/>
          </p:cNvSpPr>
          <p:nvPr>
            <p:ph type="title" hasCustomPrompt="1"/>
          </p:nvPr>
        </p:nvSpPr>
        <p:spPr>
          <a:xfrm>
            <a:off x="365125" y="386244"/>
            <a:ext cx="11461751" cy="845328"/>
          </a:xfrm>
          <a:prstGeom prst="rect">
            <a:avLst/>
          </a:prstGeom>
        </p:spPr>
        <p:txBody>
          <a:bodyPr anchor="t"/>
          <a:lstStyle>
            <a:lvl1pPr>
              <a:defRPr b="1" i="0">
                <a:latin typeface="Tiempos Headline Semibold" panose="02020703060303060403" pitchFamily="18" charset="77"/>
              </a:defRPr>
            </a:lvl1pPr>
          </a:lstStyle>
          <a:p>
            <a:r>
              <a:rPr lang="en-US"/>
              <a:t>Click to add title</a:t>
            </a:r>
          </a:p>
        </p:txBody>
      </p:sp>
      <p:sp>
        <p:nvSpPr>
          <p:cNvPr id="6" name="Text Placeholder 2">
            <a:extLst>
              <a:ext uri="{FF2B5EF4-FFF2-40B4-BE49-F238E27FC236}">
                <a16:creationId xmlns:a16="http://schemas.microsoft.com/office/drawing/2014/main" id="{867DC693-D8ED-8BAD-AFC6-21FF71AF653F}"/>
              </a:ext>
            </a:extLst>
          </p:cNvPr>
          <p:cNvSpPr>
            <a:spLocks noGrp="1"/>
          </p:cNvSpPr>
          <p:nvPr>
            <p:ph idx="1" hasCustomPrompt="1"/>
          </p:nvPr>
        </p:nvSpPr>
        <p:spPr>
          <a:xfrm>
            <a:off x="365126" y="1825624"/>
            <a:ext cx="11461751" cy="4206765"/>
          </a:xfrm>
          <a:prstGeom prst="rect">
            <a:avLst/>
          </a:prstGeom>
        </p:spPr>
        <p:txBody>
          <a:bodyPr vert="horz" lIns="91440" tIns="45720" rIns="91440" bIns="45720" rtlCol="0">
            <a:normAutofit/>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13097AD-E5EE-946D-6B29-091441FFEC9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Tree>
    <p:extLst>
      <p:ext uri="{BB962C8B-B14F-4D97-AF65-F5344CB8AC3E}">
        <p14:creationId xmlns:p14="http://schemas.microsoft.com/office/powerpoint/2010/main" val="1406775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tage Ligh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F13AC1-0540-2CBE-579B-FACE7E5BD765}"/>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b="0" i="0">
              <a:latin typeface="TT Commons Pro" panose="020B0103030102020204" pitchFamily="34" charset="77"/>
            </a:endParaRPr>
          </a:p>
        </p:txBody>
      </p:sp>
      <p:pic>
        <p:nvPicPr>
          <p:cNvPr id="7" name="Picture Placeholder 4">
            <a:extLst>
              <a:ext uri="{FF2B5EF4-FFF2-40B4-BE49-F238E27FC236}">
                <a16:creationId xmlns:a16="http://schemas.microsoft.com/office/drawing/2014/main" id="{573ADE3E-D3F1-4013-6D61-D4A98FB87D03}"/>
              </a:ext>
            </a:extLst>
          </p:cNvPr>
          <p:cNvPicPr>
            <a:picLocks/>
          </p:cNvPicPr>
          <p:nvPr userDrawn="1"/>
        </p:nvPicPr>
        <p:blipFill>
          <a:blip r:embed="rId2">
            <a:alphaModFix amt="35000"/>
          </a:blip>
          <a:srcRect t="834" b="8644"/>
          <a:stretch>
            <a:fillRect/>
          </a:stretch>
        </p:blipFill>
        <p:spPr>
          <a:xfrm>
            <a:off x="0" y="0"/>
            <a:ext cx="12192000" cy="6858000"/>
          </a:xfrm>
          <a:prstGeom prst="rect">
            <a:avLst/>
          </a:prstGeom>
        </p:spPr>
      </p:pic>
    </p:spTree>
    <p:extLst>
      <p:ext uri="{BB962C8B-B14F-4D97-AF65-F5344CB8AC3E}">
        <p14:creationId xmlns:p14="http://schemas.microsoft.com/office/powerpoint/2010/main" val="286181377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69.xml"/><Relationship Id="rId7" Type="http://schemas.openxmlformats.org/officeDocument/2006/relationships/theme" Target="../theme/theme2.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5" Type="http://schemas.openxmlformats.org/officeDocument/2006/relationships/slideLayout" Target="../slideLayouts/slideLayout71.xml"/><Relationship Id="rId4" Type="http://schemas.openxmlformats.org/officeDocument/2006/relationships/slideLayout" Target="../slideLayouts/slideLayout70.xml"/><Relationship Id="rId9" Type="http://schemas.openxmlformats.org/officeDocument/2006/relationships/image" Target="../media/image27.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tags" Target="../tags/tag2.xml"/><Relationship Id="rId3" Type="http://schemas.openxmlformats.org/officeDocument/2006/relationships/slideLayout" Target="../slideLayouts/slideLayout75.xml"/><Relationship Id="rId21" Type="http://schemas.openxmlformats.org/officeDocument/2006/relationships/image" Target="../media/image35.pn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heme" Target="../theme/theme3.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image" Target="../media/image34.emf"/><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oleObject" Target="../embeddings/oleObject2.bin"/><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3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image" Target="../media/image6.pn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theme" Target="../theme/theme4.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image" Target="../media/image2.png"/><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image" Target="../media/image6.png"/><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theme" Target="../theme/theme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image" Target="../media/image2.png"/><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image" Target="../media/image6.png"/><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46195C-8525-7DCF-70C2-6884B2193648}"/>
              </a:ext>
            </a:extLst>
          </p:cNvPr>
          <p:cNvSpPr>
            <a:spLocks noGrp="1"/>
          </p:cNvSpPr>
          <p:nvPr>
            <p:ph type="title"/>
          </p:nvPr>
        </p:nvSpPr>
        <p:spPr>
          <a:xfrm>
            <a:off x="365125" y="365125"/>
            <a:ext cx="1146175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791FBCF-CA92-7B87-7B23-4254742FD025}"/>
              </a:ext>
            </a:extLst>
          </p:cNvPr>
          <p:cNvSpPr>
            <a:spLocks noGrp="1"/>
          </p:cNvSpPr>
          <p:nvPr>
            <p:ph type="body" idx="1"/>
          </p:nvPr>
        </p:nvSpPr>
        <p:spPr>
          <a:xfrm>
            <a:off x="365125" y="1825625"/>
            <a:ext cx="1146175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A logo with a green circle and a black background&#10;&#10;Description automatically generated">
            <a:extLst>
              <a:ext uri="{FF2B5EF4-FFF2-40B4-BE49-F238E27FC236}">
                <a16:creationId xmlns:a16="http://schemas.microsoft.com/office/drawing/2014/main" id="{EB3C71B4-E7A8-013C-664F-626F394A5FFB}"/>
              </a:ext>
            </a:extLst>
          </p:cNvPr>
          <p:cNvPicPr>
            <a:picLocks noChangeAspect="1"/>
          </p:cNvPicPr>
          <p:nvPr userDrawn="1"/>
        </p:nvPicPr>
        <p:blipFill>
          <a:blip r:embed="rId68" cstate="screen">
            <a:extLst>
              <a:ext uri="{28A0092B-C50C-407E-A947-70E740481C1C}">
                <a14:useLocalDpi xmlns:a14="http://schemas.microsoft.com/office/drawing/2010/main"/>
              </a:ext>
            </a:extLst>
          </a:blip>
          <a:stretch>
            <a:fillRect/>
          </a:stretch>
        </p:blipFill>
        <p:spPr>
          <a:xfrm>
            <a:off x="182562" y="6187166"/>
            <a:ext cx="1346510" cy="612051"/>
          </a:xfrm>
          <a:prstGeom prst="rect">
            <a:avLst/>
          </a:prstGeom>
        </p:spPr>
      </p:pic>
      <p:sp>
        <p:nvSpPr>
          <p:cNvPr id="5" name="TextBox 4">
            <a:extLst>
              <a:ext uri="{FF2B5EF4-FFF2-40B4-BE49-F238E27FC236}">
                <a16:creationId xmlns:a16="http://schemas.microsoft.com/office/drawing/2014/main" id="{E90BFF3E-7D2C-1DE0-2013-477526E69F00}"/>
              </a:ext>
            </a:extLst>
          </p:cNvPr>
          <p:cNvSpPr txBox="1"/>
          <p:nvPr userDrawn="1">
            <p:extLst>
              <p:ext uri="{1162E1C5-73C7-4A58-AE30-91384D911F3F}">
                <p184:classification xmlns:p184="http://schemas.microsoft.com/office/powerpoint/2018/4/main" val="ftr"/>
              </p:ext>
            </p:extLst>
          </p:nvPr>
        </p:nvSpPr>
        <p:spPr>
          <a:xfrm>
            <a:off x="5185537" y="6642100"/>
            <a:ext cx="1849438" cy="152400"/>
          </a:xfrm>
          <a:prstGeom prst="rect">
            <a:avLst/>
          </a:prstGeom>
        </p:spPr>
        <p:txBody>
          <a:bodyPr horzOverflow="overflow" lIns="0" tIns="0" rIns="0" bIns="0">
            <a:spAutoFit/>
          </a:bodyPr>
          <a:lstStyle/>
          <a:p>
            <a:pPr algn="l"/>
            <a:r>
              <a:rPr lang="en-US" sz="1000">
                <a:solidFill>
                  <a:srgbClr val="D89B2B">
                    <a:alpha val="50000"/>
                  </a:srgbClr>
                </a:solidFill>
                <a:latin typeface="Default"/>
              </a:rPr>
              <a:t>Confidential - Company Proprietary</a:t>
            </a:r>
          </a:p>
        </p:txBody>
      </p:sp>
    </p:spTree>
    <p:extLst>
      <p:ext uri="{BB962C8B-B14F-4D97-AF65-F5344CB8AC3E}">
        <p14:creationId xmlns:p14="http://schemas.microsoft.com/office/powerpoint/2010/main" val="209056357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 id="2147483746" r:id="rId28"/>
    <p:sldLayoutId id="2147483747" r:id="rId29"/>
    <p:sldLayoutId id="2147483748" r:id="rId30"/>
    <p:sldLayoutId id="2147483683" r:id="rId31"/>
    <p:sldLayoutId id="2147483649" r:id="rId32"/>
    <p:sldLayoutId id="2147483660" r:id="rId33"/>
    <p:sldLayoutId id="2147483661" r:id="rId34"/>
    <p:sldLayoutId id="2147483662" r:id="rId35"/>
    <p:sldLayoutId id="2147483663" r:id="rId36"/>
    <p:sldLayoutId id="2147483667" r:id="rId37"/>
    <p:sldLayoutId id="2147483666" r:id="rId38"/>
    <p:sldLayoutId id="2147483664" r:id="rId39"/>
    <p:sldLayoutId id="2147483665" r:id="rId40"/>
    <p:sldLayoutId id="2147483668" r:id="rId41"/>
    <p:sldLayoutId id="2147483669" r:id="rId42"/>
    <p:sldLayoutId id="2147483670" r:id="rId43"/>
    <p:sldLayoutId id="2147483650" r:id="rId44"/>
    <p:sldLayoutId id="2147483679" r:id="rId45"/>
    <p:sldLayoutId id="2147483684" r:id="rId46"/>
    <p:sldLayoutId id="2147483680" r:id="rId47"/>
    <p:sldLayoutId id="2147483681" r:id="rId48"/>
    <p:sldLayoutId id="2147483673" r:id="rId49"/>
    <p:sldLayoutId id="2147483685" r:id="rId50"/>
    <p:sldLayoutId id="2147483686" r:id="rId51"/>
    <p:sldLayoutId id="2147483687" r:id="rId52"/>
    <p:sldLayoutId id="2147483674" r:id="rId53"/>
    <p:sldLayoutId id="2147483688" r:id="rId54"/>
    <p:sldLayoutId id="2147483675" r:id="rId55"/>
    <p:sldLayoutId id="2147483676" r:id="rId56"/>
    <p:sldLayoutId id="2147483678" r:id="rId57"/>
    <p:sldLayoutId id="2147483677" r:id="rId58"/>
    <p:sldLayoutId id="2147483682" r:id="rId59"/>
    <p:sldLayoutId id="2147483689" r:id="rId60"/>
    <p:sldLayoutId id="2147483695" r:id="rId61"/>
    <p:sldLayoutId id="2147483697" r:id="rId62"/>
    <p:sldLayoutId id="2147483698" r:id="rId63"/>
    <p:sldLayoutId id="2147483699" r:id="rId64"/>
    <p:sldLayoutId id="2147483718" r:id="rId65"/>
    <p:sldLayoutId id="2147483775" r:id="rId66"/>
  </p:sldLayoutIdLst>
  <p:txStyles>
    <p:titleStyle>
      <a:lvl1pPr algn="l" defTabSz="914400" rtl="0" eaLnBrk="1" latinLnBrk="0" hangingPunct="1">
        <a:lnSpc>
          <a:spcPct val="90000"/>
        </a:lnSpc>
        <a:spcBef>
          <a:spcPct val="0"/>
        </a:spcBef>
        <a:buNone/>
        <a:defRPr sz="4800" b="1" i="0" kern="1200">
          <a:solidFill>
            <a:schemeClr val="tx2"/>
          </a:solidFill>
          <a:latin typeface="Tiempos Headline Semibold" panose="02020703060303060403" pitchFamily="18" charset="77"/>
          <a:ea typeface="+mj-ea"/>
          <a:cs typeface="Times New Roman" panose="02020603050405020304" pitchFamily="18" charset="0"/>
        </a:defRPr>
      </a:lvl1pPr>
    </p:titleStyle>
    <p:bodyStyle>
      <a:lvl1pPr marL="228600" indent="-228600" algn="l" defTabSz="914400" rtl="0" eaLnBrk="1" latinLnBrk="0" hangingPunct="1">
        <a:lnSpc>
          <a:spcPct val="90000"/>
        </a:lnSpc>
        <a:spcBef>
          <a:spcPts val="1000"/>
        </a:spcBef>
        <a:buFontTx/>
        <a:buBlip>
          <a:blip r:embed="rId69"/>
        </a:buBlip>
        <a:defRPr sz="1800" b="0" i="0" kern="1200">
          <a:solidFill>
            <a:schemeClr val="tx2"/>
          </a:solidFill>
          <a:latin typeface="TT Commons Pro" panose="020B0103030102020204"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Tx/>
        <a:buBlip>
          <a:blip r:embed="rId70"/>
        </a:buBlip>
        <a:defRPr sz="1800" b="0" i="0" kern="1200">
          <a:solidFill>
            <a:schemeClr val="tx2"/>
          </a:solidFill>
          <a:latin typeface="TT Commons Pro" panose="020B0103030102020204" pitchFamily="34" charset="77"/>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b="0" i="0" kern="1200">
          <a:solidFill>
            <a:schemeClr val="tx2"/>
          </a:solidFill>
          <a:latin typeface="TT Commons Pro" panose="020B0103030102020204" pitchFamily="34" charset="77"/>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TT Commons Pro" panose="020B0103030102020204" pitchFamily="34" charset="77"/>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2"/>
          </a:solidFill>
          <a:latin typeface="TT Commons Pro" panose="020B0103030102020204" pitchFamily="34" charset="77"/>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576575"/>
            </a:gs>
            <a:gs pos="100000">
              <a:srgbClr val="303336"/>
            </a:gs>
          </a:gsLst>
          <a:lin ang="7200000" scaled="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07130"/>
            <a:ext cx="10515600" cy="200383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3210963"/>
            <a:ext cx="10515600" cy="2966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57588E66-2F36-F1ED-C076-F0CDDB7F083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83118" y="6289478"/>
            <a:ext cx="1204679" cy="308173"/>
          </a:xfrm>
          <a:prstGeom prst="rect">
            <a:avLst/>
          </a:prstGeom>
        </p:spPr>
      </p:pic>
      <p:sp>
        <p:nvSpPr>
          <p:cNvPr id="7" name="TextBox 6">
            <a:extLst>
              <a:ext uri="{FF2B5EF4-FFF2-40B4-BE49-F238E27FC236}">
                <a16:creationId xmlns:a16="http://schemas.microsoft.com/office/drawing/2014/main" id="{BB26741E-84BD-5524-6043-1207C378F79B}"/>
              </a:ext>
            </a:extLst>
          </p:cNvPr>
          <p:cNvSpPr txBox="1"/>
          <p:nvPr userDrawn="1">
            <p:extLst>
              <p:ext uri="{1162E1C5-73C7-4A58-AE30-91384D911F3F}">
                <p184:classification xmlns:p184="http://schemas.microsoft.com/office/powerpoint/2018/4/main" val="ftr"/>
              </p:ext>
            </p:extLst>
          </p:nvPr>
        </p:nvSpPr>
        <p:spPr>
          <a:xfrm>
            <a:off x="4882050" y="6570134"/>
            <a:ext cx="2465917" cy="205121"/>
          </a:xfrm>
          <a:prstGeom prst="rect">
            <a:avLst/>
          </a:prstGeom>
        </p:spPr>
        <p:txBody>
          <a:bodyPr horzOverflow="overflow" lIns="0" tIns="0" rIns="0" bIns="0">
            <a:spAutoFit/>
          </a:bodyPr>
          <a:lstStyle/>
          <a:p>
            <a:pPr algn="l"/>
            <a:r>
              <a:rPr lang="en-US" sz="1333">
                <a:solidFill>
                  <a:srgbClr val="D89B2B"/>
                </a:solidFill>
                <a:latin typeface="Default"/>
              </a:rPr>
              <a:t>Confidential - Company Proprietary</a:t>
            </a:r>
          </a:p>
        </p:txBody>
      </p:sp>
    </p:spTree>
    <p:extLst>
      <p:ext uri="{BB962C8B-B14F-4D97-AF65-F5344CB8AC3E}">
        <p14:creationId xmlns:p14="http://schemas.microsoft.com/office/powerpoint/2010/main" val="197191424"/>
      </p:ext>
    </p:extLst>
  </p:cSld>
  <p:clrMap bg1="lt1" tx1="dk1" bg2="lt2" tx2="dk2" accent1="accent1" accent2="accent2" accent3="accent3" accent4="accent4" accent5="accent5" accent6="accent6" hlink="hlink" folHlink="folHlink"/>
  <p:sldLayoutIdLst>
    <p:sldLayoutId id="2147483691" r:id="rId1"/>
    <p:sldLayoutId id="2147483749" r:id="rId2"/>
    <p:sldLayoutId id="2147483750" r:id="rId3"/>
    <p:sldLayoutId id="2147483751" r:id="rId4"/>
    <p:sldLayoutId id="2147483752" r:id="rId5"/>
    <p:sldLayoutId id="2147483696" r:id="rId6"/>
  </p:sldLayoutIdLst>
  <p:txStyles>
    <p:titleStyle>
      <a:lvl1pPr algn="l" defTabSz="914377" rtl="0" eaLnBrk="1" latinLnBrk="0" hangingPunct="1">
        <a:lnSpc>
          <a:spcPct val="90000"/>
        </a:lnSpc>
        <a:spcBef>
          <a:spcPct val="0"/>
        </a:spcBef>
        <a:buNone/>
        <a:defRPr sz="4400" b="1" i="0" kern="1200">
          <a:solidFill>
            <a:schemeClr val="bg1"/>
          </a:solidFill>
          <a:latin typeface="Tiempos Headline Semibold" panose="02020703060303060403" pitchFamily="18" charset="77"/>
          <a:ea typeface="+mj-ea"/>
          <a:cs typeface="Times New Roman" panose="02020603050405020304" pitchFamily="18"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bg1"/>
          </a:solidFill>
          <a:latin typeface="TT Commons Pro" panose="020B0103030102020204" pitchFamily="34" charset="77"/>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bg1"/>
          </a:solidFill>
          <a:latin typeface="TT Commons Pro" panose="020B0103030102020204" pitchFamily="34" charset="77"/>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bg1"/>
          </a:solidFill>
          <a:latin typeface="TT Commons Pro" panose="020B0103030102020204" pitchFamily="34" charset="77"/>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bg1"/>
          </a:solidFill>
          <a:latin typeface="TT Commons Pro" panose="020B0103030102020204" pitchFamily="34" charset="77"/>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bg1"/>
          </a:solidFill>
          <a:latin typeface="TT Commons Pro" panose="020B0103030102020204" pitchFamily="34" charset="77"/>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AD368BB-7685-8B5A-D7EC-3A0026A0CFE9}"/>
              </a:ext>
            </a:extLst>
          </p:cNvPr>
          <p:cNvGraphicFramePr>
            <a:graphicFrameLocks noChangeAspect="1"/>
          </p:cNvGraphicFramePr>
          <p:nvPr userDrawn="1">
            <p:custDataLst>
              <p:tags r:id="rId18"/>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9" name="think-cell data - do not delete" hidden="1">
                        <a:extLst>
                          <a:ext uri="{FF2B5EF4-FFF2-40B4-BE49-F238E27FC236}">
                            <a16:creationId xmlns:a16="http://schemas.microsoft.com/office/drawing/2014/main" id="{EAD368BB-7685-8B5A-D7EC-3A0026A0CFE9}"/>
                          </a:ext>
                        </a:extLst>
                      </p:cNvPr>
                      <p:cNvPicPr/>
                      <p:nvPr/>
                    </p:nvPicPr>
                    <p:blipFill>
                      <a:blip r:embed="rId20"/>
                      <a:stretch>
                        <a:fillRect/>
                      </a:stretch>
                    </p:blipFill>
                    <p:spPr>
                      <a:xfrm>
                        <a:off x="2118" y="2118"/>
                        <a:ext cx="1636" cy="211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E0798C8-39AF-E55D-C3BF-B372D1967060}"/>
              </a:ext>
            </a:extLst>
          </p:cNvPr>
          <p:cNvPicPr>
            <a:picLocks noChangeAspect="1"/>
          </p:cNvPicPr>
          <p:nvPr userDrawn="1"/>
        </p:nvPicPr>
        <p:blipFill>
          <a:blip r:embed="rId21"/>
          <a:srcRect/>
          <a:stretch/>
        </p:blipFill>
        <p:spPr>
          <a:xfrm>
            <a:off x="10477344" y="6352146"/>
            <a:ext cx="1257457" cy="249708"/>
          </a:xfrm>
          <a:prstGeom prst="rect">
            <a:avLst/>
          </a:prstGeom>
        </p:spPr>
      </p:pic>
      <p:sp>
        <p:nvSpPr>
          <p:cNvPr id="2" name="Title Placeholder 1">
            <a:extLst>
              <a:ext uri="{FF2B5EF4-FFF2-40B4-BE49-F238E27FC236}">
                <a16:creationId xmlns:a16="http://schemas.microsoft.com/office/drawing/2014/main" id="{FD55CC9B-6E51-E94C-BBDD-0C82AE7DED62}"/>
              </a:ext>
            </a:extLst>
          </p:cNvPr>
          <p:cNvSpPr>
            <a:spLocks noGrp="1"/>
          </p:cNvSpPr>
          <p:nvPr>
            <p:ph type="title"/>
          </p:nvPr>
        </p:nvSpPr>
        <p:spPr>
          <a:xfrm>
            <a:off x="406400" y="381001"/>
            <a:ext cx="11328400" cy="773457"/>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D07EF718-7199-3C44-8856-5A2D0D92C968}"/>
              </a:ext>
            </a:extLst>
          </p:cNvPr>
          <p:cNvSpPr>
            <a:spLocks noGrp="1"/>
          </p:cNvSpPr>
          <p:nvPr>
            <p:ph type="body" idx="1"/>
          </p:nvPr>
        </p:nvSpPr>
        <p:spPr>
          <a:xfrm>
            <a:off x="406400" y="1447801"/>
            <a:ext cx="11328400" cy="47286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89331BC-214A-584F-821A-4B49852887FB}"/>
              </a:ext>
            </a:extLst>
          </p:cNvPr>
          <p:cNvSpPr>
            <a:spLocks noGrp="1"/>
          </p:cNvSpPr>
          <p:nvPr>
            <p:ph type="sldNum" sz="quarter" idx="4"/>
          </p:nvPr>
        </p:nvSpPr>
        <p:spPr>
          <a:xfrm>
            <a:off x="406400" y="6293909"/>
            <a:ext cx="2743200" cy="366183"/>
          </a:xfrm>
          <a:prstGeom prst="rect">
            <a:avLst/>
          </a:prstGeom>
        </p:spPr>
        <p:txBody>
          <a:bodyPr vert="horz" lIns="91440" tIns="45720" rIns="91440" bIns="45720" rtlCol="0" anchor="ctr"/>
          <a:lstStyle>
            <a:lvl1pPr algn="l">
              <a:defRPr sz="1333" b="0" i="0">
                <a:solidFill>
                  <a:schemeClr val="tx1">
                    <a:tint val="75000"/>
                  </a:schemeClr>
                </a:solidFill>
                <a:latin typeface="TT Commons Pro" panose="020B0103030102020204" pitchFamily="34" charset="77"/>
              </a:defRPr>
            </a:lvl1pPr>
          </a:lstStyle>
          <a:p>
            <a:fld id="{8F301CD7-22C3-7A42-9674-1AB8A6429604}" type="slidenum">
              <a:rPr lang="en-US" smtClean="0"/>
              <a:pPr/>
              <a:t>‹#›</a:t>
            </a:fld>
            <a:endParaRPr lang="en-US"/>
          </a:p>
        </p:txBody>
      </p:sp>
      <p:sp>
        <p:nvSpPr>
          <p:cNvPr id="7" name="TextBox 6">
            <a:extLst>
              <a:ext uri="{FF2B5EF4-FFF2-40B4-BE49-F238E27FC236}">
                <a16:creationId xmlns:a16="http://schemas.microsoft.com/office/drawing/2014/main" id="{35D5D29D-2123-A258-1EBB-A36419347DA3}"/>
              </a:ext>
            </a:extLst>
          </p:cNvPr>
          <p:cNvSpPr txBox="1"/>
          <p:nvPr userDrawn="1">
            <p:extLst>
              <p:ext uri="{1162E1C5-73C7-4A58-AE30-91384D911F3F}">
                <p184:classification xmlns:p184="http://schemas.microsoft.com/office/powerpoint/2018/4/main" val="ftr"/>
              </p:ext>
            </p:extLst>
          </p:nvPr>
        </p:nvSpPr>
        <p:spPr>
          <a:xfrm>
            <a:off x="4882050" y="6400801"/>
            <a:ext cx="2465917" cy="205121"/>
          </a:xfrm>
          <a:prstGeom prst="rect">
            <a:avLst/>
          </a:prstGeom>
        </p:spPr>
        <p:txBody>
          <a:bodyPr horzOverflow="overflow" lIns="0" tIns="0" rIns="0" bIns="0">
            <a:spAutoFit/>
          </a:bodyPr>
          <a:lstStyle/>
          <a:p>
            <a:pPr algn="l"/>
            <a:r>
              <a:rPr lang="en-US" sz="1333">
                <a:solidFill>
                  <a:srgbClr val="D89B2B"/>
                </a:solidFill>
                <a:latin typeface="Default"/>
              </a:rPr>
              <a:t>Confidential - Company Proprietary</a:t>
            </a:r>
          </a:p>
        </p:txBody>
      </p:sp>
    </p:spTree>
    <p:extLst>
      <p:ext uri="{BB962C8B-B14F-4D97-AF65-F5344CB8AC3E}">
        <p14:creationId xmlns:p14="http://schemas.microsoft.com/office/powerpoint/2010/main" val="621487959"/>
      </p:ext>
    </p:extLst>
  </p:cSld>
  <p:clrMap bg1="dk1" tx1="lt1" bg2="dk2" tx2="lt2" accent1="accent1" accent2="accent2" accent3="accent3" accent4="accent4" accent5="accent5" accent6="accent6" hlink="hlink" folHlink="folHlink"/>
  <p:sldLayoutIdLst>
    <p:sldLayoutId id="2147483755"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Lst>
  <p:txStyles>
    <p:titleStyle>
      <a:lvl1pPr algn="l" defTabSz="1219170" rtl="0" eaLnBrk="1" latinLnBrk="0" hangingPunct="1">
        <a:lnSpc>
          <a:spcPct val="90000"/>
        </a:lnSpc>
        <a:spcBef>
          <a:spcPct val="0"/>
        </a:spcBef>
        <a:buNone/>
        <a:defRPr sz="5333" b="0" i="0" kern="1200">
          <a:solidFill>
            <a:schemeClr val="tx1"/>
          </a:solidFill>
          <a:latin typeface="TT Commons Pro" panose="020B0103030102020204" pitchFamily="34" charset="77"/>
          <a:ea typeface="+mj-ea"/>
          <a:cs typeface="+mj-cs"/>
        </a:defRPr>
      </a:lvl1pPr>
    </p:titleStyle>
    <p:bodyStyle>
      <a:lvl1pPr marL="463539" indent="-452955" algn="l" defTabSz="1219170" rtl="0" eaLnBrk="1" latinLnBrk="0" hangingPunct="1">
        <a:lnSpc>
          <a:spcPct val="90000"/>
        </a:lnSpc>
        <a:spcBef>
          <a:spcPts val="1333"/>
        </a:spcBef>
        <a:buFontTx/>
        <a:buBlip>
          <a:blip r:embed="rId22"/>
        </a:buBlip>
        <a:tabLst/>
        <a:defRPr sz="2667" b="0" i="0" kern="1200">
          <a:solidFill>
            <a:schemeClr val="tx1"/>
          </a:solidFill>
          <a:latin typeface="TT Commons Pro" panose="020B0103030102020204" pitchFamily="34" charset="77"/>
          <a:ea typeface="+mn-ea"/>
          <a:cs typeface="+mn-cs"/>
        </a:defRPr>
      </a:lvl1pPr>
      <a:lvl2pPr marL="1077357" indent="-463539" algn="l" defTabSz="1219170" rtl="0" eaLnBrk="1" latinLnBrk="0" hangingPunct="1">
        <a:lnSpc>
          <a:spcPct val="90000"/>
        </a:lnSpc>
        <a:spcBef>
          <a:spcPts val="667"/>
        </a:spcBef>
        <a:buFont typeface="Wingdings" pitchFamily="2" charset="2"/>
        <a:buChar char="§"/>
        <a:tabLst/>
        <a:defRPr sz="2667" b="0" i="0" kern="1200">
          <a:solidFill>
            <a:schemeClr val="tx1"/>
          </a:solidFill>
          <a:latin typeface="TT Commons Pro" panose="020B0103030102020204" pitchFamily="34" charset="77"/>
          <a:ea typeface="+mn-ea"/>
          <a:cs typeface="+mn-cs"/>
        </a:defRPr>
      </a:lvl2pPr>
      <a:lvl3pPr marL="1523962" indent="-304792" algn="l" defTabSz="1219170" rtl="0" eaLnBrk="1" latinLnBrk="0" hangingPunct="1">
        <a:lnSpc>
          <a:spcPct val="90000"/>
        </a:lnSpc>
        <a:spcBef>
          <a:spcPts val="667"/>
        </a:spcBef>
        <a:buClr>
          <a:schemeClr val="accent1"/>
        </a:buClr>
        <a:buFont typeface="Wingdings" pitchFamily="2" charset="2"/>
        <a:buChar char="§"/>
        <a:defRPr sz="2400" b="0" i="0" kern="1200">
          <a:solidFill>
            <a:schemeClr val="tx1"/>
          </a:solidFill>
          <a:latin typeface="TT Commons Pro" panose="020B0103030102020204" pitchFamily="34" charset="77"/>
          <a:ea typeface="+mn-ea"/>
          <a:cs typeface="+mn-cs"/>
        </a:defRPr>
      </a:lvl3pPr>
      <a:lvl4pPr marL="2133547" indent="-304792" algn="l" defTabSz="1219170" rtl="0" eaLnBrk="1" latinLnBrk="0" hangingPunct="1">
        <a:lnSpc>
          <a:spcPct val="90000"/>
        </a:lnSpc>
        <a:spcBef>
          <a:spcPts val="667"/>
        </a:spcBef>
        <a:buClr>
          <a:schemeClr val="tx2"/>
        </a:buClr>
        <a:buFont typeface="Arial" panose="020B0604020202020204" pitchFamily="34" charset="0"/>
        <a:buChar char="•"/>
        <a:defRPr sz="2133" b="0" i="0" kern="1200">
          <a:solidFill>
            <a:schemeClr val="tx1"/>
          </a:solidFill>
          <a:latin typeface="TT Commons Pro" panose="020B0103030102020204" pitchFamily="34" charset="77"/>
          <a:ea typeface="+mn-ea"/>
          <a:cs typeface="+mn-cs"/>
        </a:defRPr>
      </a:lvl4pPr>
      <a:lvl5pPr marL="2743131" indent="-304792" algn="l" defTabSz="1219170" rtl="0" eaLnBrk="1" latinLnBrk="0" hangingPunct="1">
        <a:lnSpc>
          <a:spcPct val="90000"/>
        </a:lnSpc>
        <a:spcBef>
          <a:spcPts val="667"/>
        </a:spcBef>
        <a:buClr>
          <a:schemeClr val="accent1"/>
        </a:buClr>
        <a:buFont typeface="Arial" panose="020B0604020202020204" pitchFamily="34" charset="0"/>
        <a:buChar char="•"/>
        <a:defRPr sz="2133" b="0" i="0" kern="1200">
          <a:solidFill>
            <a:schemeClr val="tx1"/>
          </a:solidFill>
          <a:latin typeface="TT Commons Pro" panose="020B0103030102020204" pitchFamily="34" charset="77"/>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5544">
          <p15:clr>
            <a:srgbClr val="F26B43"/>
          </p15:clr>
        </p15:guide>
        <p15:guide id="4" pos="192">
          <p15:clr>
            <a:srgbClr val="F26B43"/>
          </p15:clr>
        </p15:guide>
        <p15:guide id="6" orient="horz" pos="3060">
          <p15:clr>
            <a:srgbClr val="F26B43"/>
          </p15:clr>
        </p15:guide>
        <p15:guide id="9" orient="horz" pos="180">
          <p15:clr>
            <a:srgbClr val="F26B43"/>
          </p15:clr>
        </p15:guide>
        <p15:guide id="10" orient="horz" pos="6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100000">
              <a:srgbClr val="687581"/>
            </a:gs>
            <a:gs pos="19000">
              <a:schemeClr val="accent6">
                <a:lumMod val="75000"/>
              </a:schemeClr>
            </a:gs>
            <a:gs pos="55000">
              <a:srgbClr val="434B53"/>
            </a:gs>
            <a:gs pos="100000">
              <a:srgbClr val="93A5B5"/>
            </a:gs>
          </a:gsLst>
          <a:path path="circle">
            <a:fillToRect t="100000" r="100000"/>
          </a:path>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46195C-8525-7DCF-70C2-6884B2193648}"/>
              </a:ext>
            </a:extLst>
          </p:cNvPr>
          <p:cNvSpPr>
            <a:spLocks noGrp="1"/>
          </p:cNvSpPr>
          <p:nvPr>
            <p:ph type="title"/>
          </p:nvPr>
        </p:nvSpPr>
        <p:spPr>
          <a:xfrm>
            <a:off x="365127" y="386328"/>
            <a:ext cx="11461749" cy="845328"/>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791FBCF-CA92-7B87-7B23-4254742FD025}"/>
              </a:ext>
            </a:extLst>
          </p:cNvPr>
          <p:cNvSpPr>
            <a:spLocks noGrp="1"/>
          </p:cNvSpPr>
          <p:nvPr>
            <p:ph type="body" idx="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3E9BA471-FC84-153D-A9A7-41364C5E8BA3}"/>
              </a:ext>
            </a:extLst>
          </p:cNvPr>
          <p:cNvPicPr>
            <a:picLocks noChangeAspect="1"/>
          </p:cNvPicPr>
          <p:nvPr userDrawn="1"/>
        </p:nvPicPr>
        <p:blipFill>
          <a:blip r:embed="rId18"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
        <p:nvSpPr>
          <p:cNvPr id="4" name="TextBox 3">
            <a:extLst>
              <a:ext uri="{FF2B5EF4-FFF2-40B4-BE49-F238E27FC236}">
                <a16:creationId xmlns:a16="http://schemas.microsoft.com/office/drawing/2014/main" id="{101E5B23-6BEC-C95B-8172-8911F91D5274}"/>
              </a:ext>
            </a:extLst>
          </p:cNvPr>
          <p:cNvSpPr txBox="1"/>
          <p:nvPr userDrawn="1">
            <p:extLst>
              <p:ext uri="{1162E1C5-73C7-4A58-AE30-91384D911F3F}">
                <p184:classification xmlns:p184="http://schemas.microsoft.com/office/powerpoint/2018/4/main" val="ftr"/>
              </p:ext>
            </p:extLst>
          </p:nvPr>
        </p:nvSpPr>
        <p:spPr>
          <a:xfrm>
            <a:off x="5185538" y="6642101"/>
            <a:ext cx="1849439" cy="153888"/>
          </a:xfrm>
          <a:prstGeom prst="rect">
            <a:avLst/>
          </a:prstGeom>
        </p:spPr>
        <p:txBody>
          <a:bodyPr horzOverflow="overflow" lIns="0" tIns="0" rIns="0" bIns="0">
            <a:spAutoFit/>
          </a:bodyPr>
          <a:lstStyle/>
          <a:p>
            <a:pPr algn="l"/>
            <a:r>
              <a:rPr lang="en-US" sz="1000">
                <a:solidFill>
                  <a:srgbClr val="D89B2B"/>
                </a:solidFill>
                <a:latin typeface="Default"/>
              </a:rPr>
              <a:t>Confidential - Company Proprietary</a:t>
            </a:r>
          </a:p>
        </p:txBody>
      </p:sp>
    </p:spTree>
    <p:extLst>
      <p:ext uri="{BB962C8B-B14F-4D97-AF65-F5344CB8AC3E}">
        <p14:creationId xmlns:p14="http://schemas.microsoft.com/office/powerpoint/2010/main" val="884570341"/>
      </p:ext>
    </p:extLst>
  </p:cSld>
  <p:clrMap bg1="dk1" tx1="lt1" bg2="dk2" tx2="lt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96" r:id="rId16"/>
  </p:sldLayoutIdLst>
  <p:txStyles>
    <p:titleStyle>
      <a:lvl1pPr algn="l" defTabSz="914377" rtl="0" eaLnBrk="1" latinLnBrk="0" hangingPunct="1">
        <a:lnSpc>
          <a:spcPct val="90000"/>
        </a:lnSpc>
        <a:spcBef>
          <a:spcPct val="0"/>
        </a:spcBef>
        <a:buNone/>
        <a:defRPr sz="5867" b="1" i="0" kern="1200">
          <a:solidFill>
            <a:schemeClr val="tx1"/>
          </a:solidFill>
          <a:latin typeface="Tiempos Headline Semibold" panose="02020703060303060403" pitchFamily="18" charset="77"/>
          <a:ea typeface="+mj-ea"/>
          <a:cs typeface="Times New Roman" panose="02020603050405020304" pitchFamily="18" charset="0"/>
        </a:defRPr>
      </a:lvl1pPr>
    </p:titleStyle>
    <p:bodyStyle>
      <a:lvl1pPr marL="304792" indent="-304792" algn="l" defTabSz="914377" rtl="0" eaLnBrk="1" latinLnBrk="0" hangingPunct="1">
        <a:lnSpc>
          <a:spcPct val="100000"/>
        </a:lnSpc>
        <a:spcBef>
          <a:spcPts val="1000"/>
        </a:spcBef>
        <a:buFontTx/>
        <a:buBlip>
          <a:blip r:embed="rId19"/>
        </a:buBlip>
        <a:tabLst/>
        <a:defRPr sz="2133" b="0" i="0" kern="1200">
          <a:solidFill>
            <a:schemeClr val="tx1"/>
          </a:solidFill>
          <a:latin typeface="TT Commons Pro Light" panose="020B0103030102020204" pitchFamily="34" charset="77"/>
          <a:ea typeface="+mn-ea"/>
          <a:cs typeface="Arial" panose="020B0604020202020204" pitchFamily="34" charset="0"/>
        </a:defRPr>
      </a:lvl1pPr>
      <a:lvl2pPr marL="609585" indent="-304792" algn="l" defTabSz="914377" rtl="0" eaLnBrk="1" latinLnBrk="0" hangingPunct="1">
        <a:lnSpc>
          <a:spcPct val="100000"/>
        </a:lnSpc>
        <a:spcBef>
          <a:spcPts val="500"/>
        </a:spcBef>
        <a:buClr>
          <a:schemeClr val="tx1"/>
        </a:buClr>
        <a:buFont typeface="Arial" panose="020B0604020202020204" pitchFamily="34" charset="0"/>
        <a:buChar char="•"/>
        <a:tabLst/>
        <a:defRPr sz="1867" b="0" i="0" kern="1200">
          <a:solidFill>
            <a:schemeClr val="tx1"/>
          </a:solidFill>
          <a:latin typeface="TT Commons Pro Light" panose="020B0103030102020204" pitchFamily="34" charset="77"/>
          <a:ea typeface="+mn-ea"/>
          <a:cs typeface="Arial" panose="020B0604020202020204" pitchFamily="34" charset="0"/>
        </a:defRPr>
      </a:lvl2pPr>
      <a:lvl3pPr marL="914377" indent="-304792" algn="l" defTabSz="914377" rtl="0" eaLnBrk="1" latinLnBrk="0" hangingPunct="1">
        <a:lnSpc>
          <a:spcPct val="100000"/>
        </a:lnSpc>
        <a:spcBef>
          <a:spcPts val="500"/>
        </a:spcBef>
        <a:buClr>
          <a:schemeClr val="accent1"/>
        </a:buClr>
        <a:buFont typeface="Wingdings" pitchFamily="2" charset="2"/>
        <a:buChar char="§"/>
        <a:tabLst/>
        <a:defRPr sz="1867" b="0" i="0" kern="1200">
          <a:solidFill>
            <a:schemeClr val="tx1"/>
          </a:solidFill>
          <a:latin typeface="TT Commons Pro Light" panose="020B0103030102020204" pitchFamily="34" charset="77"/>
          <a:ea typeface="+mn-ea"/>
          <a:cs typeface="Arial" panose="020B0604020202020204" pitchFamily="34" charset="0"/>
        </a:defRPr>
      </a:lvl3pPr>
      <a:lvl4pPr marL="1219170" indent="-304792" algn="l" defTabSz="914377" rtl="0" eaLnBrk="1" latinLnBrk="0" hangingPunct="1">
        <a:lnSpc>
          <a:spcPct val="100000"/>
        </a:lnSpc>
        <a:spcBef>
          <a:spcPts val="500"/>
        </a:spcBef>
        <a:buFont typeface="Arial" panose="020B0604020202020204" pitchFamily="34" charset="0"/>
        <a:buChar char="•"/>
        <a:tabLst/>
        <a:defRPr sz="1867" b="0" i="0" kern="1200">
          <a:solidFill>
            <a:schemeClr val="tx1"/>
          </a:solidFill>
          <a:latin typeface="TT Commons Pro Light" panose="020B0103030102020204" pitchFamily="34" charset="77"/>
          <a:ea typeface="+mn-ea"/>
          <a:cs typeface="Arial" panose="020B0604020202020204" pitchFamily="34" charset="0"/>
        </a:defRPr>
      </a:lvl4pPr>
      <a:lvl5pPr marL="1449881" indent="-230712" algn="l" defTabSz="914377" rtl="0" eaLnBrk="1" latinLnBrk="0" hangingPunct="1">
        <a:lnSpc>
          <a:spcPct val="100000"/>
        </a:lnSpc>
        <a:spcBef>
          <a:spcPts val="500"/>
        </a:spcBef>
        <a:buClr>
          <a:schemeClr val="accent1"/>
        </a:buClr>
        <a:buFont typeface="Arial" panose="020B0604020202020204" pitchFamily="34" charset="0"/>
        <a:buChar char="•"/>
        <a:tabLst/>
        <a:defRPr sz="1867" b="0" i="0" kern="1200">
          <a:solidFill>
            <a:schemeClr val="tx1"/>
          </a:solidFill>
          <a:latin typeface="TT Commons Pro Light" panose="020B0103030102020204" pitchFamily="34" charset="77"/>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gradFill flip="none" rotWithShape="1">
          <a:gsLst>
            <a:gs pos="100000">
              <a:srgbClr val="687581"/>
            </a:gs>
            <a:gs pos="19000">
              <a:schemeClr val="accent6">
                <a:lumMod val="75000"/>
              </a:schemeClr>
            </a:gs>
            <a:gs pos="55000">
              <a:srgbClr val="434B53"/>
            </a:gs>
            <a:gs pos="100000">
              <a:srgbClr val="93A5B5"/>
            </a:gs>
          </a:gsLst>
          <a:path path="circle">
            <a:fillToRect t="100000" r="100000"/>
          </a:path>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46195C-8525-7DCF-70C2-6884B2193648}"/>
              </a:ext>
            </a:extLst>
          </p:cNvPr>
          <p:cNvSpPr>
            <a:spLocks noGrp="1"/>
          </p:cNvSpPr>
          <p:nvPr>
            <p:ph type="title"/>
          </p:nvPr>
        </p:nvSpPr>
        <p:spPr>
          <a:xfrm>
            <a:off x="365127" y="386328"/>
            <a:ext cx="11461749" cy="845328"/>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791FBCF-CA92-7B87-7B23-4254742FD025}"/>
              </a:ext>
            </a:extLst>
          </p:cNvPr>
          <p:cNvSpPr>
            <a:spLocks noGrp="1"/>
          </p:cNvSpPr>
          <p:nvPr>
            <p:ph type="body" idx="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3E9BA471-FC84-153D-A9A7-41364C5E8BA3}"/>
              </a:ext>
            </a:extLst>
          </p:cNvPr>
          <p:cNvPicPr>
            <a:picLocks noChangeAspect="1"/>
          </p:cNvPicPr>
          <p:nvPr userDrawn="1"/>
        </p:nvPicPr>
        <p:blipFill>
          <a:blip r:embed="rId21"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
        <p:nvSpPr>
          <p:cNvPr id="4" name="TextBox 3">
            <a:extLst>
              <a:ext uri="{FF2B5EF4-FFF2-40B4-BE49-F238E27FC236}">
                <a16:creationId xmlns:a16="http://schemas.microsoft.com/office/drawing/2014/main" id="{101E5B23-6BEC-C95B-8172-8911F91D5274}"/>
              </a:ext>
            </a:extLst>
          </p:cNvPr>
          <p:cNvSpPr txBox="1"/>
          <p:nvPr userDrawn="1">
            <p:extLst>
              <p:ext uri="{1162E1C5-73C7-4A58-AE30-91384D911F3F}">
                <p184:classification xmlns:p184="http://schemas.microsoft.com/office/powerpoint/2018/4/main" val="ftr"/>
              </p:ext>
            </p:extLst>
          </p:nvPr>
        </p:nvSpPr>
        <p:spPr>
          <a:xfrm>
            <a:off x="5185538" y="6642101"/>
            <a:ext cx="1849439" cy="153888"/>
          </a:xfrm>
          <a:prstGeom prst="rect">
            <a:avLst/>
          </a:prstGeom>
        </p:spPr>
        <p:txBody>
          <a:bodyPr horzOverflow="overflow" lIns="0" tIns="0" rIns="0" bIns="0">
            <a:spAutoFit/>
          </a:bodyPr>
          <a:lstStyle/>
          <a:p>
            <a:pPr algn="l"/>
            <a:r>
              <a:rPr lang="en-US" sz="1000">
                <a:solidFill>
                  <a:srgbClr val="D89B2B"/>
                </a:solidFill>
                <a:latin typeface="Default"/>
              </a:rPr>
              <a:t>Confidential - Company Proprietary</a:t>
            </a:r>
          </a:p>
        </p:txBody>
      </p:sp>
    </p:spTree>
    <p:extLst>
      <p:ext uri="{BB962C8B-B14F-4D97-AF65-F5344CB8AC3E}">
        <p14:creationId xmlns:p14="http://schemas.microsoft.com/office/powerpoint/2010/main" val="212586062"/>
      </p:ext>
    </p:extLst>
  </p:cSld>
  <p:clrMap bg1="dk1" tx1="lt1" bg2="dk2" tx2="lt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Lst>
  <p:txStyles>
    <p:titleStyle>
      <a:lvl1pPr algn="l" defTabSz="914377" rtl="0" eaLnBrk="1" latinLnBrk="0" hangingPunct="1">
        <a:lnSpc>
          <a:spcPct val="90000"/>
        </a:lnSpc>
        <a:spcBef>
          <a:spcPct val="0"/>
        </a:spcBef>
        <a:buNone/>
        <a:defRPr sz="5867" b="1" i="0" kern="1200">
          <a:solidFill>
            <a:schemeClr val="tx1"/>
          </a:solidFill>
          <a:latin typeface="Tiempos Headline Semibold" panose="02020703060303060403" pitchFamily="18" charset="77"/>
          <a:ea typeface="+mj-ea"/>
          <a:cs typeface="Times New Roman" panose="02020603050405020304" pitchFamily="18" charset="0"/>
        </a:defRPr>
      </a:lvl1pPr>
    </p:titleStyle>
    <p:bodyStyle>
      <a:lvl1pPr marL="304792" indent="-304792" algn="l" defTabSz="914377" rtl="0" eaLnBrk="1" latinLnBrk="0" hangingPunct="1">
        <a:lnSpc>
          <a:spcPct val="100000"/>
        </a:lnSpc>
        <a:spcBef>
          <a:spcPts val="1000"/>
        </a:spcBef>
        <a:buFontTx/>
        <a:buBlip>
          <a:blip r:embed="rId22"/>
        </a:buBlip>
        <a:tabLst/>
        <a:defRPr sz="2133" b="0" i="0" kern="1200">
          <a:solidFill>
            <a:schemeClr val="tx1"/>
          </a:solidFill>
          <a:latin typeface="TT Commons Pro Light" panose="020B0103030102020204" pitchFamily="34" charset="77"/>
          <a:ea typeface="+mn-ea"/>
          <a:cs typeface="Arial" panose="020B0604020202020204" pitchFamily="34" charset="0"/>
        </a:defRPr>
      </a:lvl1pPr>
      <a:lvl2pPr marL="609585" indent="-304792" algn="l" defTabSz="914377" rtl="0" eaLnBrk="1" latinLnBrk="0" hangingPunct="1">
        <a:lnSpc>
          <a:spcPct val="100000"/>
        </a:lnSpc>
        <a:spcBef>
          <a:spcPts val="500"/>
        </a:spcBef>
        <a:buClr>
          <a:schemeClr val="tx1"/>
        </a:buClr>
        <a:buFont typeface="Arial" panose="020B0604020202020204" pitchFamily="34" charset="0"/>
        <a:buChar char="•"/>
        <a:tabLst/>
        <a:defRPr sz="1867" b="0" i="0" kern="1200">
          <a:solidFill>
            <a:schemeClr val="tx1"/>
          </a:solidFill>
          <a:latin typeface="TT Commons Pro Light" panose="020B0103030102020204" pitchFamily="34" charset="77"/>
          <a:ea typeface="+mn-ea"/>
          <a:cs typeface="Arial" panose="020B0604020202020204" pitchFamily="34" charset="0"/>
        </a:defRPr>
      </a:lvl2pPr>
      <a:lvl3pPr marL="914377" indent="-304792" algn="l" defTabSz="914377" rtl="0" eaLnBrk="1" latinLnBrk="0" hangingPunct="1">
        <a:lnSpc>
          <a:spcPct val="100000"/>
        </a:lnSpc>
        <a:spcBef>
          <a:spcPts val="500"/>
        </a:spcBef>
        <a:buClr>
          <a:schemeClr val="accent1"/>
        </a:buClr>
        <a:buFont typeface="Wingdings" pitchFamily="2" charset="2"/>
        <a:buChar char="§"/>
        <a:tabLst/>
        <a:defRPr sz="1867" b="0" i="0" kern="1200">
          <a:solidFill>
            <a:schemeClr val="tx1"/>
          </a:solidFill>
          <a:latin typeface="TT Commons Pro Light" panose="020B0103030102020204" pitchFamily="34" charset="77"/>
          <a:ea typeface="+mn-ea"/>
          <a:cs typeface="Arial" panose="020B0604020202020204" pitchFamily="34" charset="0"/>
        </a:defRPr>
      </a:lvl3pPr>
      <a:lvl4pPr marL="1219170" indent="-304792" algn="l" defTabSz="914377" rtl="0" eaLnBrk="1" latinLnBrk="0" hangingPunct="1">
        <a:lnSpc>
          <a:spcPct val="100000"/>
        </a:lnSpc>
        <a:spcBef>
          <a:spcPts val="500"/>
        </a:spcBef>
        <a:buFont typeface="Arial" panose="020B0604020202020204" pitchFamily="34" charset="0"/>
        <a:buChar char="•"/>
        <a:tabLst/>
        <a:defRPr sz="1867" b="0" i="0" kern="1200">
          <a:solidFill>
            <a:schemeClr val="tx1"/>
          </a:solidFill>
          <a:latin typeface="TT Commons Pro Light" panose="020B0103030102020204" pitchFamily="34" charset="77"/>
          <a:ea typeface="+mn-ea"/>
          <a:cs typeface="Arial" panose="020B0604020202020204" pitchFamily="34" charset="0"/>
        </a:defRPr>
      </a:lvl4pPr>
      <a:lvl5pPr marL="1449881" indent="-230712" algn="l" defTabSz="914377" rtl="0" eaLnBrk="1" latinLnBrk="0" hangingPunct="1">
        <a:lnSpc>
          <a:spcPct val="100000"/>
        </a:lnSpc>
        <a:spcBef>
          <a:spcPts val="500"/>
        </a:spcBef>
        <a:buClr>
          <a:schemeClr val="accent1"/>
        </a:buClr>
        <a:buFont typeface="Arial" panose="020B0604020202020204" pitchFamily="34" charset="0"/>
        <a:buChar char="•"/>
        <a:tabLst/>
        <a:defRPr sz="1867" b="0" i="0" kern="1200">
          <a:solidFill>
            <a:schemeClr val="tx1"/>
          </a:solidFill>
          <a:latin typeface="TT Commons Pro Light" panose="020B0103030102020204" pitchFamily="34" charset="77"/>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gradFill flip="none" rotWithShape="1">
          <a:gsLst>
            <a:gs pos="100000">
              <a:srgbClr val="687581"/>
            </a:gs>
            <a:gs pos="19000">
              <a:schemeClr val="accent6">
                <a:lumMod val="75000"/>
              </a:schemeClr>
            </a:gs>
            <a:gs pos="55000">
              <a:srgbClr val="434B53"/>
            </a:gs>
            <a:gs pos="100000">
              <a:srgbClr val="93A5B5"/>
            </a:gs>
          </a:gsLst>
          <a:path path="circle">
            <a:fillToRect t="100000" r="100000"/>
          </a:path>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46195C-8525-7DCF-70C2-6884B2193648}"/>
              </a:ext>
            </a:extLst>
          </p:cNvPr>
          <p:cNvSpPr>
            <a:spLocks noGrp="1"/>
          </p:cNvSpPr>
          <p:nvPr>
            <p:ph type="title"/>
          </p:nvPr>
        </p:nvSpPr>
        <p:spPr>
          <a:xfrm>
            <a:off x="365127" y="386328"/>
            <a:ext cx="11461749" cy="845328"/>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791FBCF-CA92-7B87-7B23-4254742FD025}"/>
              </a:ext>
            </a:extLst>
          </p:cNvPr>
          <p:cNvSpPr>
            <a:spLocks noGrp="1"/>
          </p:cNvSpPr>
          <p:nvPr>
            <p:ph type="body" idx="1"/>
          </p:nvPr>
        </p:nvSpPr>
        <p:spPr>
          <a:xfrm>
            <a:off x="365126" y="1825624"/>
            <a:ext cx="11461751" cy="42067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3E9BA471-FC84-153D-A9A7-41364C5E8BA3}"/>
              </a:ext>
            </a:extLst>
          </p:cNvPr>
          <p:cNvPicPr>
            <a:picLocks noChangeAspect="1"/>
          </p:cNvPicPr>
          <p:nvPr userDrawn="1"/>
        </p:nvPicPr>
        <p:blipFill>
          <a:blip r:embed="rId23" cstate="screen">
            <a:extLst>
              <a:ext uri="{28A0092B-C50C-407E-A947-70E740481C1C}">
                <a14:useLocalDpi xmlns:a14="http://schemas.microsoft.com/office/drawing/2010/main"/>
              </a:ext>
            </a:extLst>
          </a:blip>
          <a:srcRect/>
          <a:stretch/>
        </p:blipFill>
        <p:spPr>
          <a:xfrm>
            <a:off x="182562" y="6188509"/>
            <a:ext cx="1346511" cy="609369"/>
          </a:xfrm>
          <a:prstGeom prst="rect">
            <a:avLst/>
          </a:prstGeom>
        </p:spPr>
      </p:pic>
      <p:sp>
        <p:nvSpPr>
          <p:cNvPr id="4" name="TextBox 3">
            <a:extLst>
              <a:ext uri="{FF2B5EF4-FFF2-40B4-BE49-F238E27FC236}">
                <a16:creationId xmlns:a16="http://schemas.microsoft.com/office/drawing/2014/main" id="{101E5B23-6BEC-C95B-8172-8911F91D5274}"/>
              </a:ext>
            </a:extLst>
          </p:cNvPr>
          <p:cNvSpPr txBox="1"/>
          <p:nvPr userDrawn="1">
            <p:extLst>
              <p:ext uri="{1162E1C5-73C7-4A58-AE30-91384D911F3F}">
                <p184:classification xmlns:p184="http://schemas.microsoft.com/office/powerpoint/2018/4/main" val="ftr"/>
              </p:ext>
            </p:extLst>
          </p:nvPr>
        </p:nvSpPr>
        <p:spPr>
          <a:xfrm>
            <a:off x="5185538" y="6642101"/>
            <a:ext cx="1849439" cy="153888"/>
          </a:xfrm>
          <a:prstGeom prst="rect">
            <a:avLst/>
          </a:prstGeom>
        </p:spPr>
        <p:txBody>
          <a:bodyPr horzOverflow="overflow" lIns="0" tIns="0" rIns="0" bIns="0">
            <a:spAutoFit/>
          </a:bodyPr>
          <a:lstStyle/>
          <a:p>
            <a:pPr algn="l"/>
            <a:r>
              <a:rPr lang="en-US" sz="1000">
                <a:solidFill>
                  <a:srgbClr val="D89B2B"/>
                </a:solidFill>
                <a:latin typeface="Default"/>
              </a:rPr>
              <a:t>Confidential - Company Proprietary</a:t>
            </a:r>
          </a:p>
        </p:txBody>
      </p:sp>
    </p:spTree>
    <p:extLst>
      <p:ext uri="{BB962C8B-B14F-4D97-AF65-F5344CB8AC3E}">
        <p14:creationId xmlns:p14="http://schemas.microsoft.com/office/powerpoint/2010/main" val="3152284848"/>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Lst>
  <p:txStyles>
    <p:titleStyle>
      <a:lvl1pPr algn="l" defTabSz="914377" rtl="0" eaLnBrk="1" latinLnBrk="0" hangingPunct="1">
        <a:lnSpc>
          <a:spcPct val="90000"/>
        </a:lnSpc>
        <a:spcBef>
          <a:spcPct val="0"/>
        </a:spcBef>
        <a:buNone/>
        <a:defRPr sz="5867" b="1" i="0" kern="1200">
          <a:solidFill>
            <a:schemeClr val="tx1"/>
          </a:solidFill>
          <a:latin typeface="Tiempos Headline Semibold" panose="02020703060303060403" pitchFamily="18" charset="77"/>
          <a:ea typeface="+mj-ea"/>
          <a:cs typeface="Times New Roman" panose="02020603050405020304" pitchFamily="18" charset="0"/>
        </a:defRPr>
      </a:lvl1pPr>
    </p:titleStyle>
    <p:bodyStyle>
      <a:lvl1pPr marL="304792" indent="-304792" algn="l" defTabSz="914377" rtl="0" eaLnBrk="1" latinLnBrk="0" hangingPunct="1">
        <a:lnSpc>
          <a:spcPct val="100000"/>
        </a:lnSpc>
        <a:spcBef>
          <a:spcPts val="1000"/>
        </a:spcBef>
        <a:buFontTx/>
        <a:buBlip>
          <a:blip r:embed="rId24"/>
        </a:buBlip>
        <a:tabLst/>
        <a:defRPr sz="2133" b="0" i="0" kern="1200">
          <a:solidFill>
            <a:schemeClr val="tx1"/>
          </a:solidFill>
          <a:latin typeface="TT Commons Pro Light" panose="020B0103030102020204" pitchFamily="34" charset="77"/>
          <a:ea typeface="+mn-ea"/>
          <a:cs typeface="Arial" panose="020B0604020202020204" pitchFamily="34" charset="0"/>
        </a:defRPr>
      </a:lvl1pPr>
      <a:lvl2pPr marL="609585" indent="-304792" algn="l" defTabSz="914377" rtl="0" eaLnBrk="1" latinLnBrk="0" hangingPunct="1">
        <a:lnSpc>
          <a:spcPct val="100000"/>
        </a:lnSpc>
        <a:spcBef>
          <a:spcPts val="500"/>
        </a:spcBef>
        <a:buClr>
          <a:schemeClr val="tx1"/>
        </a:buClr>
        <a:buFont typeface="Arial" panose="020B0604020202020204" pitchFamily="34" charset="0"/>
        <a:buChar char="•"/>
        <a:tabLst/>
        <a:defRPr sz="1867" b="0" i="0" kern="1200">
          <a:solidFill>
            <a:schemeClr val="tx1"/>
          </a:solidFill>
          <a:latin typeface="TT Commons Pro Light" panose="020B0103030102020204" pitchFamily="34" charset="77"/>
          <a:ea typeface="+mn-ea"/>
          <a:cs typeface="Arial" panose="020B0604020202020204" pitchFamily="34" charset="0"/>
        </a:defRPr>
      </a:lvl2pPr>
      <a:lvl3pPr marL="914377" indent="-304792" algn="l" defTabSz="914377" rtl="0" eaLnBrk="1" latinLnBrk="0" hangingPunct="1">
        <a:lnSpc>
          <a:spcPct val="100000"/>
        </a:lnSpc>
        <a:spcBef>
          <a:spcPts val="500"/>
        </a:spcBef>
        <a:buClr>
          <a:schemeClr val="accent1"/>
        </a:buClr>
        <a:buFont typeface="Wingdings" pitchFamily="2" charset="2"/>
        <a:buChar char="§"/>
        <a:tabLst/>
        <a:defRPr sz="1867" b="0" i="0" kern="1200">
          <a:solidFill>
            <a:schemeClr val="tx1"/>
          </a:solidFill>
          <a:latin typeface="TT Commons Pro Light" panose="020B0103030102020204" pitchFamily="34" charset="77"/>
          <a:ea typeface="+mn-ea"/>
          <a:cs typeface="Arial" panose="020B0604020202020204" pitchFamily="34" charset="0"/>
        </a:defRPr>
      </a:lvl3pPr>
      <a:lvl4pPr marL="1219170" indent="-304792" algn="l" defTabSz="914377" rtl="0" eaLnBrk="1" latinLnBrk="0" hangingPunct="1">
        <a:lnSpc>
          <a:spcPct val="100000"/>
        </a:lnSpc>
        <a:spcBef>
          <a:spcPts val="500"/>
        </a:spcBef>
        <a:buFont typeface="Arial" panose="020B0604020202020204" pitchFamily="34" charset="0"/>
        <a:buChar char="•"/>
        <a:tabLst/>
        <a:defRPr sz="1867" b="0" i="0" kern="1200">
          <a:solidFill>
            <a:schemeClr val="tx1"/>
          </a:solidFill>
          <a:latin typeface="TT Commons Pro Light" panose="020B0103030102020204" pitchFamily="34" charset="77"/>
          <a:ea typeface="+mn-ea"/>
          <a:cs typeface="Arial" panose="020B0604020202020204" pitchFamily="34" charset="0"/>
        </a:defRPr>
      </a:lvl4pPr>
      <a:lvl5pPr marL="1449881" indent="-230712" algn="l" defTabSz="914377" rtl="0" eaLnBrk="1" latinLnBrk="0" hangingPunct="1">
        <a:lnSpc>
          <a:spcPct val="100000"/>
        </a:lnSpc>
        <a:spcBef>
          <a:spcPts val="500"/>
        </a:spcBef>
        <a:buClr>
          <a:schemeClr val="accent1"/>
        </a:buClr>
        <a:buFont typeface="Arial" panose="020B0604020202020204" pitchFamily="34" charset="0"/>
        <a:buChar char="•"/>
        <a:tabLst/>
        <a:defRPr sz="1867" b="0" i="0" kern="1200">
          <a:solidFill>
            <a:schemeClr val="tx1"/>
          </a:solidFill>
          <a:latin typeface="TT Commons Pro Light" panose="020B0103030102020204" pitchFamily="34" charset="77"/>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xml"/><Relationship Id="rId1" Type="http://schemas.openxmlformats.org/officeDocument/2006/relationships/slideLayout" Target="../slideLayouts/slideLayout32.xml"/><Relationship Id="rId4" Type="http://schemas.microsoft.com/office/2007/relationships/hdphoto" Target="../media/hdphoto18.wdp"/></Relationships>
</file>

<file path=ppt/slides/_rels/slide1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15.xml"/><Relationship Id="rId5" Type="http://schemas.openxmlformats.org/officeDocument/2006/relationships/hyperlink" Target="https://www.panewslab.com/en/articles/1x1ju91t?utm_source=chatgpt.com" TargetMode="External"/><Relationship Id="rId4" Type="http://schemas.microsoft.com/office/2007/relationships/hdphoto" Target="../media/hdphoto21.wdp"/></Relationships>
</file>

<file path=ppt/slides/_rels/slide1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62.xml"/><Relationship Id="rId5" Type="http://schemas.microsoft.com/office/2007/relationships/hdphoto" Target="../media/hdphoto22.wdp"/><Relationship Id="rId4" Type="http://schemas.openxmlformats.org/officeDocument/2006/relationships/image" Target="../media/image7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62.xml"/><Relationship Id="rId5" Type="http://schemas.microsoft.com/office/2007/relationships/hdphoto" Target="../media/hdphoto22.wdp"/><Relationship Id="rId4" Type="http://schemas.openxmlformats.org/officeDocument/2006/relationships/image" Target="../media/image76.png"/></Relationships>
</file>

<file path=ppt/slides/_rels/slide14.xml.rels><?xml version="1.0" encoding="UTF-8" standalone="yes"?>
<Relationships xmlns="http://schemas.openxmlformats.org/package/2006/relationships"><Relationship Id="rId8" Type="http://schemas.openxmlformats.org/officeDocument/2006/relationships/image" Target="../media/image82.emf"/><Relationship Id="rId13" Type="http://schemas.openxmlformats.org/officeDocument/2006/relationships/image" Target="../media/image87.emf"/><Relationship Id="rId18" Type="http://schemas.openxmlformats.org/officeDocument/2006/relationships/image" Target="../media/image92.emf"/><Relationship Id="rId3" Type="http://schemas.openxmlformats.org/officeDocument/2006/relationships/image" Target="../media/image77.emf"/><Relationship Id="rId7" Type="http://schemas.openxmlformats.org/officeDocument/2006/relationships/image" Target="../media/image81.emf"/><Relationship Id="rId12" Type="http://schemas.openxmlformats.org/officeDocument/2006/relationships/image" Target="../media/image86.png"/><Relationship Id="rId17" Type="http://schemas.openxmlformats.org/officeDocument/2006/relationships/image" Target="../media/image91.emf"/><Relationship Id="rId2" Type="http://schemas.openxmlformats.org/officeDocument/2006/relationships/notesSlide" Target="../notesSlides/notesSlide14.xml"/><Relationship Id="rId16" Type="http://schemas.openxmlformats.org/officeDocument/2006/relationships/image" Target="../media/image90.emf"/><Relationship Id="rId20" Type="http://schemas.openxmlformats.org/officeDocument/2006/relationships/image" Target="../media/image94.emf"/><Relationship Id="rId1" Type="http://schemas.openxmlformats.org/officeDocument/2006/relationships/slideLayout" Target="../slideLayouts/slideLayout66.xml"/><Relationship Id="rId6" Type="http://schemas.openxmlformats.org/officeDocument/2006/relationships/image" Target="../media/image80.emf"/><Relationship Id="rId11" Type="http://schemas.openxmlformats.org/officeDocument/2006/relationships/image" Target="../media/image85.emf"/><Relationship Id="rId5" Type="http://schemas.openxmlformats.org/officeDocument/2006/relationships/image" Target="../media/image79.emf"/><Relationship Id="rId15" Type="http://schemas.openxmlformats.org/officeDocument/2006/relationships/image" Target="../media/image89.emf"/><Relationship Id="rId10" Type="http://schemas.openxmlformats.org/officeDocument/2006/relationships/image" Target="../media/image84.emf"/><Relationship Id="rId19" Type="http://schemas.openxmlformats.org/officeDocument/2006/relationships/image" Target="../media/image93.emf"/><Relationship Id="rId4" Type="http://schemas.openxmlformats.org/officeDocument/2006/relationships/image" Target="../media/image78.emf"/><Relationship Id="rId9" Type="http://schemas.openxmlformats.org/officeDocument/2006/relationships/image" Target="../media/image83.emf"/><Relationship Id="rId14" Type="http://schemas.openxmlformats.org/officeDocument/2006/relationships/image" Target="../media/image88.emf"/></Relationships>
</file>

<file path=ppt/slides/_rels/slide1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75.png"/><Relationship Id="rId7"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62.xml"/><Relationship Id="rId6" Type="http://schemas.openxmlformats.org/officeDocument/2006/relationships/image" Target="../media/image95.png"/><Relationship Id="rId5" Type="http://schemas.microsoft.com/office/2007/relationships/hdphoto" Target="../media/hdphoto22.wdp"/><Relationship Id="rId4" Type="http://schemas.openxmlformats.org/officeDocument/2006/relationships/image" Target="../media/image76.png"/></Relationships>
</file>

<file path=ppt/slides/_rels/slide16.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7.png"/><Relationship Id="rId2" Type="http://schemas.openxmlformats.org/officeDocument/2006/relationships/notesSlide" Target="../notesSlides/notesSlide16.xml"/><Relationship Id="rId1" Type="http://schemas.openxmlformats.org/officeDocument/2006/relationships/slideLayout" Target="../slideLayouts/slideLayout44.xml"/><Relationship Id="rId6" Type="http://schemas.openxmlformats.org/officeDocument/2006/relationships/image" Target="../media/image96.png"/><Relationship Id="rId5" Type="http://schemas.openxmlformats.org/officeDocument/2006/relationships/image" Target="../media/image3.png"/><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44.xml"/><Relationship Id="rId6" Type="http://schemas.openxmlformats.org/officeDocument/2006/relationships/image" Target="../media/image98.png"/><Relationship Id="rId5" Type="http://schemas.openxmlformats.org/officeDocument/2006/relationships/hyperlink" Target="https://www.deloitte.com/us/en/what-we-do/capabilities/applied-artificial-intelligence/content/state-of-ai-in-the-enterprise.html" TargetMode="Externa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100.png"/><Relationship Id="rId5" Type="http://schemas.microsoft.com/office/2007/relationships/hdphoto" Target="../media/hdphoto22.wdp"/><Relationship Id="rId4" Type="http://schemas.openxmlformats.org/officeDocument/2006/relationships/image" Target="../media/image76.png"/></Relationships>
</file>

<file path=ppt/slides/_rels/slide19.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microsoft.com/office/2007/relationships/hdphoto" Target="../media/hdphoto22.wdp"/><Relationship Id="rId5" Type="http://schemas.openxmlformats.org/officeDocument/2006/relationships/image" Target="../media/image76.png"/><Relationship Id="rId4" Type="http://schemas.openxmlformats.org/officeDocument/2006/relationships/image" Target="../media/image10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75.png"/><Relationship Id="rId7" Type="http://schemas.openxmlformats.org/officeDocument/2006/relationships/image" Target="../media/image96.png"/><Relationship Id="rId2" Type="http://schemas.openxmlformats.org/officeDocument/2006/relationships/notesSlide" Target="../notesSlides/notesSlide20.xml"/><Relationship Id="rId1" Type="http://schemas.openxmlformats.org/officeDocument/2006/relationships/slideLayout" Target="../slideLayouts/slideLayout62.xml"/><Relationship Id="rId6" Type="http://schemas.openxmlformats.org/officeDocument/2006/relationships/image" Target="../media/image95.png"/><Relationship Id="rId5" Type="http://schemas.microsoft.com/office/2007/relationships/hdphoto" Target="../media/hdphoto22.wdp"/><Relationship Id="rId4" Type="http://schemas.openxmlformats.org/officeDocument/2006/relationships/image" Target="../media/image7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jpeg"/><Relationship Id="rId18" Type="http://schemas.openxmlformats.org/officeDocument/2006/relationships/image" Target="../media/image119.png"/><Relationship Id="rId3" Type="http://schemas.openxmlformats.org/officeDocument/2006/relationships/image" Target="../media/image2.png"/><Relationship Id="rId21" Type="http://schemas.microsoft.com/office/2007/relationships/hdphoto" Target="../media/hdphoto23.wdp"/><Relationship Id="rId7" Type="http://schemas.openxmlformats.org/officeDocument/2006/relationships/image" Target="../media/image108.svg"/><Relationship Id="rId12" Type="http://schemas.openxmlformats.org/officeDocument/2006/relationships/image" Target="../media/image113.jpeg"/><Relationship Id="rId17" Type="http://schemas.openxmlformats.org/officeDocument/2006/relationships/image" Target="../media/image118.png"/><Relationship Id="rId2" Type="http://schemas.openxmlformats.org/officeDocument/2006/relationships/notesSlide" Target="../notesSlides/notesSlide22.xml"/><Relationship Id="rId16" Type="http://schemas.openxmlformats.org/officeDocument/2006/relationships/image" Target="../media/image117.png"/><Relationship Id="rId20" Type="http://schemas.openxmlformats.org/officeDocument/2006/relationships/image" Target="../media/image121.png"/><Relationship Id="rId1" Type="http://schemas.openxmlformats.org/officeDocument/2006/relationships/slideLayout" Target="../slideLayouts/slideLayout109.xml"/><Relationship Id="rId6" Type="http://schemas.openxmlformats.org/officeDocument/2006/relationships/image" Target="../media/image107.png"/><Relationship Id="rId11" Type="http://schemas.openxmlformats.org/officeDocument/2006/relationships/image" Target="../media/image112.jpeg"/><Relationship Id="rId5" Type="http://schemas.openxmlformats.org/officeDocument/2006/relationships/image" Target="../media/image106.png"/><Relationship Id="rId15" Type="http://schemas.openxmlformats.org/officeDocument/2006/relationships/image" Target="../media/image116.png"/><Relationship Id="rId10" Type="http://schemas.openxmlformats.org/officeDocument/2006/relationships/image" Target="../media/image111.jpeg"/><Relationship Id="rId19" Type="http://schemas.openxmlformats.org/officeDocument/2006/relationships/image" Target="../media/image120.png"/><Relationship Id="rId4" Type="http://schemas.openxmlformats.org/officeDocument/2006/relationships/image" Target="../media/image105.jpeg"/><Relationship Id="rId9" Type="http://schemas.openxmlformats.org/officeDocument/2006/relationships/image" Target="../media/image110.jpeg"/><Relationship Id="rId14" Type="http://schemas.openxmlformats.org/officeDocument/2006/relationships/image" Target="../media/image115.png"/><Relationship Id="rId22" Type="http://schemas.openxmlformats.org/officeDocument/2006/relationships/image" Target="../media/image122.png"/></Relationships>
</file>

<file path=ppt/slides/_rels/slide23.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15.png"/><Relationship Id="rId18" Type="http://schemas.openxmlformats.org/officeDocument/2006/relationships/image" Target="../media/image121.png"/><Relationship Id="rId3" Type="http://schemas.openxmlformats.org/officeDocument/2006/relationships/image" Target="../media/image2.png"/><Relationship Id="rId21" Type="http://schemas.openxmlformats.org/officeDocument/2006/relationships/image" Target="../media/image130.png"/><Relationship Id="rId7" Type="http://schemas.microsoft.com/office/2007/relationships/hdphoto" Target="../media/hdphoto24.wdp"/><Relationship Id="rId12" Type="http://schemas.openxmlformats.org/officeDocument/2006/relationships/image" Target="../media/image125.png"/><Relationship Id="rId17" Type="http://schemas.openxmlformats.org/officeDocument/2006/relationships/image" Target="../media/image129.png"/><Relationship Id="rId2" Type="http://schemas.openxmlformats.org/officeDocument/2006/relationships/notesSlide" Target="../notesSlides/notesSlide23.xml"/><Relationship Id="rId16" Type="http://schemas.openxmlformats.org/officeDocument/2006/relationships/image" Target="../media/image128.png"/><Relationship Id="rId20" Type="http://schemas.openxmlformats.org/officeDocument/2006/relationships/image" Target="../media/image120.png"/><Relationship Id="rId1" Type="http://schemas.openxmlformats.org/officeDocument/2006/relationships/slideLayout" Target="../slideLayouts/slideLayout104.xml"/><Relationship Id="rId6" Type="http://schemas.openxmlformats.org/officeDocument/2006/relationships/image" Target="../media/image123.png"/><Relationship Id="rId11" Type="http://schemas.openxmlformats.org/officeDocument/2006/relationships/image" Target="../media/image119.png"/><Relationship Id="rId5" Type="http://schemas.openxmlformats.org/officeDocument/2006/relationships/image" Target="../media/image116.png"/><Relationship Id="rId15" Type="http://schemas.openxmlformats.org/officeDocument/2006/relationships/image" Target="../media/image127.png"/><Relationship Id="rId10" Type="http://schemas.openxmlformats.org/officeDocument/2006/relationships/image" Target="../media/image124.png"/><Relationship Id="rId19" Type="http://schemas.microsoft.com/office/2007/relationships/hdphoto" Target="../media/hdphoto23.wdp"/><Relationship Id="rId4" Type="http://schemas.openxmlformats.org/officeDocument/2006/relationships/image" Target="../media/image122.png"/><Relationship Id="rId9" Type="http://schemas.openxmlformats.org/officeDocument/2006/relationships/image" Target="../media/image117.png"/><Relationship Id="rId14" Type="http://schemas.openxmlformats.org/officeDocument/2006/relationships/image" Target="../media/image126.png"/></Relationships>
</file>

<file path=ppt/slides/_rels/slide2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4.xml"/><Relationship Id="rId1" Type="http://schemas.openxmlformats.org/officeDocument/2006/relationships/slideLayout" Target="../slideLayouts/slideLayout127.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109.xml"/><Relationship Id="rId4" Type="http://schemas.openxmlformats.org/officeDocument/2006/relationships/image" Target="../media/image125.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109.xml"/><Relationship Id="rId4" Type="http://schemas.openxmlformats.org/officeDocument/2006/relationships/image" Target="../media/image12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hyperlink" Target="https://www.deloitte.com/us/en/what-we-do/capabilities/applied-artificial-intelligence/content/state-of-ai-in-the-enterprise.html" TargetMode="External"/><Relationship Id="rId2" Type="http://schemas.openxmlformats.org/officeDocument/2006/relationships/notesSlide" Target="../notesSlides/notesSlide28.xml"/><Relationship Id="rId1" Type="http://schemas.openxmlformats.org/officeDocument/2006/relationships/slideLayout" Target="../slideLayouts/slideLayout44.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25.wdp"/></Relationships>
</file>

<file path=ppt/slides/_rels/slide2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3.png"/><Relationship Id="rId7" Type="http://schemas.openxmlformats.org/officeDocument/2006/relationships/hyperlink" Target="https://www.linkedin.com/in/stevenbrookes/" TargetMode="External"/><Relationship Id="rId12" Type="http://schemas.microsoft.com/office/2007/relationships/hdphoto" Target="../media/hdphoto26.wdp"/><Relationship Id="rId2" Type="http://schemas.openxmlformats.org/officeDocument/2006/relationships/hyperlink" Target="mailto:toni.harridge@esko.com" TargetMode="External"/><Relationship Id="rId1" Type="http://schemas.openxmlformats.org/officeDocument/2006/relationships/slideLayout" Target="../slideLayouts/slideLayout56.xml"/><Relationship Id="rId6" Type="http://schemas.openxmlformats.org/officeDocument/2006/relationships/image" Target="../media/image132.png"/><Relationship Id="rId11" Type="http://schemas.openxmlformats.org/officeDocument/2006/relationships/image" Target="../media/image135.png"/><Relationship Id="rId5" Type="http://schemas.openxmlformats.org/officeDocument/2006/relationships/hyperlink" Target="https://www.linkedin.com/in/toni-harridge-18289624/" TargetMode="External"/><Relationship Id="rId10" Type="http://schemas.openxmlformats.org/officeDocument/2006/relationships/image" Target="../media/image134.jpeg"/><Relationship Id="rId4" Type="http://schemas.openxmlformats.org/officeDocument/2006/relationships/hyperlink" Target="mailto:David.Meister@esko.com" TargetMode="External"/><Relationship Id="rId9" Type="http://schemas.openxmlformats.org/officeDocument/2006/relationships/image" Target="../media/image133.png"/></Relationships>
</file>

<file path=ppt/slides/_rels/slide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xml"/><Relationship Id="rId1" Type="http://schemas.openxmlformats.org/officeDocument/2006/relationships/slideLayout" Target="../slideLayouts/slideLayout45.xml"/><Relationship Id="rId4" Type="http://schemas.openxmlformats.org/officeDocument/2006/relationships/image" Target="../media/image68.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xml"/><Relationship Id="rId1" Type="http://schemas.openxmlformats.org/officeDocument/2006/relationships/slideLayout" Target="../slideLayouts/slideLayout71.xml"/><Relationship Id="rId6" Type="http://schemas.openxmlformats.org/officeDocument/2006/relationships/image" Target="../media/image71.svg"/><Relationship Id="rId5" Type="http://schemas.openxmlformats.org/officeDocument/2006/relationships/image" Target="../media/image70.png"/><Relationship Id="rId4" Type="http://schemas.microsoft.com/office/2007/relationships/hdphoto" Target="../media/hdphoto19.wdp"/></Relationships>
</file>

<file path=ppt/slides/_rels/slide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xml"/><Relationship Id="rId1" Type="http://schemas.openxmlformats.org/officeDocument/2006/relationships/slideLayout" Target="../slideLayouts/slideLayout71.xml"/><Relationship Id="rId6" Type="http://schemas.openxmlformats.org/officeDocument/2006/relationships/image" Target="../media/image71.svg"/><Relationship Id="rId5" Type="http://schemas.openxmlformats.org/officeDocument/2006/relationships/image" Target="../media/image70.png"/><Relationship Id="rId4" Type="http://schemas.microsoft.com/office/2007/relationships/hdphoto" Target="../media/hdphoto20.wdp"/></Relationships>
</file>

<file path=ppt/slides/_rels/slide6.xml.rels><?xml version="1.0" encoding="UTF-8" standalone="yes"?>
<Relationships xmlns="http://schemas.openxmlformats.org/package/2006/relationships"><Relationship Id="rId3" Type="http://schemas.openxmlformats.org/officeDocument/2006/relationships/hyperlink" Target="https://kpmg.com/content/dam/kpmgsites/xx/pdf/2025/05/trust-attitudes-and-use-of-ai-global-report.pdf"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hyperlink" Target="https://www.deloitte.com/us/en/what-we-do/capabilities/applied-artificial-intelligence/content/state-of-ai-in-the-enterprise.html"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73.jpeg"/></Relationships>
</file>

<file path=ppt/slides/_rels/slide8.xml.rels><?xml version="1.0" encoding="UTF-8" standalone="yes"?>
<Relationships xmlns="http://schemas.openxmlformats.org/package/2006/relationships"><Relationship Id="rId3" Type="http://schemas.openxmlformats.org/officeDocument/2006/relationships/hyperlink" Target="https://www.panewslab.com/en/articles/1x1ju91t?utm_source=chatgpt.com"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032C0-15DE-AB1E-6A70-D4D61140E4C2}"/>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B8B4ABFB-DD07-36F8-3ABA-1F45D6E272E2}"/>
              </a:ext>
            </a:extLst>
          </p:cNvPr>
          <p:cNvPicPr>
            <a:picLocks noGrp="1" noChangeAspect="1"/>
          </p:cNvPicPr>
          <p:nvPr>
            <p:ph type="pic" sz="quarter" idx="10"/>
          </p:nvPr>
        </p:nvPicPr>
        <p:blipFill>
          <a:blip r:embed="rId3">
            <a:extLst>
              <a:ext uri="{BEBA8EAE-BF5A-486C-A8C5-ECC9F3942E4B}">
                <a14:imgProps xmlns:a14="http://schemas.microsoft.com/office/drawing/2010/main">
                  <a14:imgLayer r:embed="rId4">
                    <a14:imgEffect>
                      <a14:brightnessContrast contrast="20000"/>
                    </a14:imgEffect>
                  </a14:imgLayer>
                </a14:imgProps>
              </a:ext>
            </a:extLst>
          </a:blip>
          <a:srcRect t="3514" b="3514"/>
          <a:stretch/>
        </p:blipFill>
        <p:spPr>
          <a:xfrm>
            <a:off x="0" y="-1"/>
            <a:ext cx="12192000" cy="6183578"/>
          </a:xfrm>
        </p:spPr>
      </p:pic>
      <p:sp>
        <p:nvSpPr>
          <p:cNvPr id="11" name="Title 2">
            <a:extLst>
              <a:ext uri="{FF2B5EF4-FFF2-40B4-BE49-F238E27FC236}">
                <a16:creationId xmlns:a16="http://schemas.microsoft.com/office/drawing/2014/main" id="{FD356C9C-2EFD-E0AA-26F0-C73FE4179B22}"/>
              </a:ext>
            </a:extLst>
          </p:cNvPr>
          <p:cNvSpPr>
            <a:spLocks noGrp="1"/>
          </p:cNvSpPr>
          <p:nvPr>
            <p:ph type="ctrTitle"/>
          </p:nvPr>
        </p:nvSpPr>
        <p:spPr>
          <a:xfrm>
            <a:off x="365759" y="674422"/>
            <a:ext cx="3837751" cy="4047703"/>
          </a:xfrm>
          <a:solidFill>
            <a:schemeClr val="tx1">
              <a:alpha val="61000"/>
            </a:schemeClr>
          </a:solidFill>
        </p:spPr>
        <p:txBody>
          <a:bodyPr lIns="182880" rIns="182880" anchor="ctr">
            <a:noAutofit/>
          </a:bodyPr>
          <a:lstStyle/>
          <a:p>
            <a:pPr>
              <a:spcBef>
                <a:spcPts val="1200"/>
              </a:spcBef>
            </a:pPr>
            <a:r>
              <a:rPr lang="en-CA" sz="4400">
                <a:cs typeface="Times New Roman"/>
              </a:rPr>
              <a:t>AI-Assisted </a:t>
            </a:r>
            <a:br>
              <a:rPr lang="en-CA" sz="4400">
                <a:cs typeface="Times New Roman"/>
              </a:rPr>
            </a:br>
            <a:r>
              <a:rPr lang="en-CA" sz="4400">
                <a:cs typeface="Times New Roman"/>
              </a:rPr>
              <a:t>Artwork &amp; Leaflets: </a:t>
            </a:r>
            <a:br>
              <a:rPr lang="en-CA" sz="4400">
                <a:cs typeface="Times New Roman"/>
              </a:rPr>
            </a:br>
            <a:r>
              <a:rPr lang="en-CA" sz="4400">
                <a:cs typeface="Times New Roman"/>
              </a:rPr>
              <a:t>Boost Your Operational Efficiency  </a:t>
            </a:r>
            <a:endParaRPr lang="en-US" sz="4400"/>
          </a:p>
        </p:txBody>
      </p:sp>
      <p:sp>
        <p:nvSpPr>
          <p:cNvPr id="12" name="Subtitle 3">
            <a:extLst>
              <a:ext uri="{FF2B5EF4-FFF2-40B4-BE49-F238E27FC236}">
                <a16:creationId xmlns:a16="http://schemas.microsoft.com/office/drawing/2014/main" id="{FB806B47-55F3-1C90-8FA3-4703E6E2AB20}"/>
              </a:ext>
            </a:extLst>
          </p:cNvPr>
          <p:cNvSpPr>
            <a:spLocks noGrp="1"/>
          </p:cNvSpPr>
          <p:nvPr>
            <p:ph type="subTitle" idx="1"/>
          </p:nvPr>
        </p:nvSpPr>
        <p:spPr>
          <a:xfrm>
            <a:off x="365761" y="4722126"/>
            <a:ext cx="3837750" cy="859892"/>
          </a:xfrm>
          <a:solidFill>
            <a:schemeClr val="tx1">
              <a:alpha val="61000"/>
            </a:schemeClr>
          </a:solidFill>
        </p:spPr>
        <p:txBody>
          <a:bodyPr vert="horz" lIns="182880" tIns="45720" rIns="182880" bIns="45720" rtlCol="0" anchor="t">
            <a:normAutofit/>
          </a:bodyPr>
          <a:lstStyle/>
          <a:p>
            <a:pPr marL="7620"/>
            <a:r>
              <a:rPr lang="en-US" sz="1800" dirty="0">
                <a:ea typeface="Calibri"/>
                <a:cs typeface="Calibri"/>
              </a:rPr>
              <a:t>Samantha Thompson </a:t>
            </a:r>
            <a:endParaRPr lang="en-US" sz="1800" dirty="0"/>
          </a:p>
          <a:p>
            <a:pPr marL="7620"/>
            <a:r>
              <a:rPr lang="en-US" sz="1800">
                <a:ea typeface="Calibri"/>
                <a:cs typeface="Calibri"/>
              </a:rPr>
              <a:t>15</a:t>
            </a:r>
            <a:r>
              <a:rPr lang="en-US" sz="1800" baseline="30000">
                <a:ea typeface="Calibri"/>
                <a:cs typeface="Calibri"/>
              </a:rPr>
              <a:t>th</a:t>
            </a:r>
            <a:r>
              <a:rPr lang="en-US" sz="1800">
                <a:ea typeface="Calibri"/>
                <a:cs typeface="Calibri"/>
              </a:rPr>
              <a:t> PPLIF | </a:t>
            </a:r>
            <a:r>
              <a:rPr lang="en-US" sz="1800" dirty="0">
                <a:ea typeface="Calibri"/>
                <a:cs typeface="Calibri"/>
              </a:rPr>
              <a:t>March 2026</a:t>
            </a:r>
          </a:p>
        </p:txBody>
      </p:sp>
    </p:spTree>
    <p:extLst>
      <p:ext uri="{BB962C8B-B14F-4D97-AF65-F5344CB8AC3E}">
        <p14:creationId xmlns:p14="http://schemas.microsoft.com/office/powerpoint/2010/main" val="24633374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E5595C-3FC6-3467-D103-704797457C3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BDD8657F-8365-50E5-0231-8450DCC75AA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40000"/>
                    </a14:imgEffect>
                  </a14:imgLayer>
                </a14:imgProps>
              </a:ext>
            </a:extLst>
          </a:blip>
          <a:srcRect l="179" r="179"/>
          <a:stretch/>
        </p:blipFill>
        <p:spPr>
          <a:xfrm>
            <a:off x="0" y="0"/>
            <a:ext cx="12192000" cy="6858000"/>
          </a:xfrm>
          <a:prstGeom prst="rect">
            <a:avLst/>
          </a:prstGeom>
        </p:spPr>
      </p:pic>
      <p:sp>
        <p:nvSpPr>
          <p:cNvPr id="10" name="Title 3">
            <a:extLst>
              <a:ext uri="{FF2B5EF4-FFF2-40B4-BE49-F238E27FC236}">
                <a16:creationId xmlns:a16="http://schemas.microsoft.com/office/drawing/2014/main" id="{6575589A-BEC9-592B-E270-A0E4F24B56D2}"/>
              </a:ext>
            </a:extLst>
          </p:cNvPr>
          <p:cNvSpPr txBox="1">
            <a:spLocks/>
          </p:cNvSpPr>
          <p:nvPr/>
        </p:nvSpPr>
        <p:spPr>
          <a:xfrm>
            <a:off x="383117" y="268291"/>
            <a:ext cx="11298599" cy="88407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5200" b="1" i="0" kern="1200">
                <a:solidFill>
                  <a:schemeClr val="bg1"/>
                </a:solidFill>
                <a:latin typeface="Tiempos Headline Semibold" panose="02020703060303060403" pitchFamily="18" charset="77"/>
                <a:ea typeface="+mj-ea"/>
                <a:cs typeface="Times New Roman" panose="02020603050405020304" pitchFamily="18" charset="0"/>
              </a:defRPr>
            </a:lvl1pPr>
          </a:lstStyle>
          <a:p>
            <a:r>
              <a:rPr lang="en-US" sz="4800"/>
              <a:t>AI Assistance for Artwork Process</a:t>
            </a:r>
          </a:p>
        </p:txBody>
      </p:sp>
      <p:sp>
        <p:nvSpPr>
          <p:cNvPr id="14" name="TextBox 13">
            <a:extLst>
              <a:ext uri="{FF2B5EF4-FFF2-40B4-BE49-F238E27FC236}">
                <a16:creationId xmlns:a16="http://schemas.microsoft.com/office/drawing/2014/main" id="{8B222F9E-5D61-122D-AB1E-4B5ACFBBD5D7}"/>
              </a:ext>
            </a:extLst>
          </p:cNvPr>
          <p:cNvSpPr txBox="1"/>
          <p:nvPr/>
        </p:nvSpPr>
        <p:spPr>
          <a:xfrm>
            <a:off x="7845807" y="6480973"/>
            <a:ext cx="4180541" cy="215444"/>
          </a:xfrm>
          <a:prstGeom prst="rect">
            <a:avLst/>
          </a:prstGeom>
          <a:noFill/>
        </p:spPr>
        <p:txBody>
          <a:bodyPr wrap="square" anchor="b">
            <a:spAutoFit/>
          </a:bodyPr>
          <a:lstStyle/>
          <a:p>
            <a:pPr algn="r"/>
            <a:r>
              <a:rPr lang="en-CA" sz="800">
                <a:solidFill>
                  <a:schemeClr val="tx2">
                    <a:lumMod val="60000"/>
                    <a:lumOff val="40000"/>
                  </a:schemeClr>
                </a:solidFill>
                <a:latin typeface="TT Commons Pro" panose="020B0103030102020204" pitchFamily="34" charset="77"/>
                <a:hlinkClick r:id="rId5">
                  <a:extLst>
                    <a:ext uri="{A12FA001-AC4F-418D-AE19-62706E023703}">
                      <ahyp:hlinkClr xmlns:ahyp="http://schemas.microsoft.com/office/drawing/2018/hyperlinkcolor" val="tx"/>
                    </a:ext>
                  </a:extLst>
                </a:hlinkClick>
              </a:rPr>
              <a:t>Stanford HAI's 2025 Artificial Intelligence Index Report</a:t>
            </a:r>
            <a:endParaRPr lang="en-CA" sz="800">
              <a:solidFill>
                <a:schemeClr val="tx2">
                  <a:lumMod val="60000"/>
                  <a:lumOff val="40000"/>
                </a:schemeClr>
              </a:solidFill>
              <a:latin typeface="TT Commons Pro" panose="020B0103030102020204" pitchFamily="34" charset="77"/>
            </a:endParaRPr>
          </a:p>
        </p:txBody>
      </p:sp>
      <p:sp>
        <p:nvSpPr>
          <p:cNvPr id="2" name="Content Placeholder 3">
            <a:extLst>
              <a:ext uri="{FF2B5EF4-FFF2-40B4-BE49-F238E27FC236}">
                <a16:creationId xmlns:a16="http://schemas.microsoft.com/office/drawing/2014/main" id="{C5D26B58-EB9B-FC0B-01AF-1F61199543D4}"/>
              </a:ext>
            </a:extLst>
          </p:cNvPr>
          <p:cNvSpPr>
            <a:spLocks noGrp="1"/>
          </p:cNvSpPr>
          <p:nvPr>
            <p:ph idx="1"/>
          </p:nvPr>
        </p:nvSpPr>
        <p:spPr>
          <a:xfrm>
            <a:off x="383117" y="2208727"/>
            <a:ext cx="11139648" cy="3359013"/>
          </a:xfrm>
        </p:spPr>
        <p:txBody>
          <a:bodyPr>
            <a:normAutofit/>
          </a:bodyPr>
          <a:lstStyle/>
          <a:p>
            <a:pPr marL="0" indent="0">
              <a:buNone/>
            </a:pPr>
            <a:r>
              <a:rPr lang="en-CA" b="1" kern="100">
                <a:solidFill>
                  <a:schemeClr val="bg1"/>
                </a:solidFill>
                <a:ea typeface="Aptos" panose="020B0004020202020204" pitchFamily="34" charset="0"/>
                <a:cs typeface="Times New Roman" panose="02020603050405020304" pitchFamily="18" charset="0"/>
              </a:rPr>
              <a:t>Artwork is a time consuming and manually intensive activity.</a:t>
            </a:r>
          </a:p>
          <a:p>
            <a:pPr>
              <a:buClr>
                <a:schemeClr val="bg1"/>
              </a:buClr>
              <a:buFont typeface="Arial" panose="020B0604020202020204" pitchFamily="34" charset="0"/>
              <a:buChar char="•"/>
            </a:pPr>
            <a:r>
              <a:rPr lang="en-CA" kern="100">
                <a:solidFill>
                  <a:schemeClr val="bg1"/>
                </a:solidFill>
                <a:ea typeface="Aptos" panose="020B0004020202020204" pitchFamily="34" charset="0"/>
                <a:cs typeface="Times New Roman" panose="02020603050405020304" pitchFamily="18" charset="0"/>
              </a:rPr>
              <a:t>Multiple briefing processes</a:t>
            </a:r>
          </a:p>
          <a:p>
            <a:pPr>
              <a:buClr>
                <a:schemeClr val="bg1"/>
              </a:buClr>
              <a:buFont typeface="Arial" panose="020B0604020202020204" pitchFamily="34" charset="0"/>
              <a:buChar char="•"/>
            </a:pPr>
            <a:r>
              <a:rPr lang="en-CA" kern="100">
                <a:solidFill>
                  <a:schemeClr val="bg1"/>
                </a:solidFill>
                <a:ea typeface="Aptos" panose="020B0004020202020204" pitchFamily="34" charset="0"/>
                <a:cs typeface="Times New Roman" panose="02020603050405020304" pitchFamily="18" charset="0"/>
              </a:rPr>
              <a:t>Manual copy/paste</a:t>
            </a:r>
          </a:p>
          <a:p>
            <a:pPr>
              <a:buClr>
                <a:schemeClr val="bg1"/>
              </a:buClr>
              <a:buFont typeface="Arial" panose="020B0604020202020204" pitchFamily="34" charset="0"/>
              <a:buChar char="•"/>
            </a:pPr>
            <a:r>
              <a:rPr lang="en-CA" kern="100">
                <a:solidFill>
                  <a:schemeClr val="bg1"/>
                </a:solidFill>
                <a:ea typeface="Aptos" panose="020B0004020202020204" pitchFamily="34" charset="0"/>
                <a:cs typeface="Times New Roman" panose="02020603050405020304" pitchFamily="18" charset="0"/>
              </a:rPr>
              <a:t>Visual quality &amp; compliance checks</a:t>
            </a:r>
          </a:p>
          <a:p>
            <a:pPr>
              <a:buClr>
                <a:schemeClr val="bg1"/>
              </a:buClr>
              <a:buFont typeface="Arial" panose="020B0604020202020204" pitchFamily="34" charset="0"/>
              <a:buChar char="•"/>
            </a:pPr>
            <a:r>
              <a:rPr lang="en-CA" kern="100">
                <a:solidFill>
                  <a:schemeClr val="bg1"/>
                </a:solidFill>
                <a:ea typeface="Aptos" panose="020B0004020202020204" pitchFamily="34" charset="0"/>
                <a:cs typeface="Times New Roman" panose="02020603050405020304" pitchFamily="18" charset="0"/>
              </a:rPr>
              <a:t>Multiple layers of review &amp; approval</a:t>
            </a:r>
          </a:p>
          <a:p>
            <a:pPr marL="0" lvl="0" indent="0">
              <a:lnSpc>
                <a:spcPct val="115000"/>
              </a:lnSpc>
              <a:spcBef>
                <a:spcPts val="1600"/>
              </a:spcBef>
              <a:spcAft>
                <a:spcPts val="800"/>
              </a:spcAft>
              <a:buNone/>
            </a:pPr>
            <a:endParaRPr lang="en-CA" sz="2000" b="1" kern="100">
              <a:solidFill>
                <a:schemeClr val="bg1"/>
              </a:solidFill>
              <a:ea typeface="Aptos" panose="020B0004020202020204" pitchFamily="34" charset="0"/>
              <a:cs typeface="Times New Roman" panose="02020603050405020304" pitchFamily="18" charset="0"/>
            </a:endParaRPr>
          </a:p>
          <a:p>
            <a:pPr marL="0" lvl="0" indent="0">
              <a:lnSpc>
                <a:spcPct val="115000"/>
              </a:lnSpc>
              <a:spcBef>
                <a:spcPts val="1600"/>
              </a:spcBef>
              <a:spcAft>
                <a:spcPts val="800"/>
              </a:spcAft>
              <a:buNone/>
            </a:pPr>
            <a:r>
              <a:rPr lang="en-CA" sz="2000" b="1" kern="100">
                <a:solidFill>
                  <a:schemeClr val="bg1"/>
                </a:solidFill>
                <a:ea typeface="Aptos" panose="020B0004020202020204" pitchFamily="34" charset="0"/>
                <a:cs typeface="Times New Roman" panose="02020603050405020304" pitchFamily="18" charset="0"/>
              </a:rPr>
              <a:t>STAKES ARE HIGH: patient safety, recalls expensive &amp; impact market authorization status</a:t>
            </a:r>
            <a:endParaRPr lang="en-CA" sz="1600" b="1" kern="100">
              <a:solidFill>
                <a:schemeClr val="bg1"/>
              </a:solidFill>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3557050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rgbClr val="576575"/>
            </a:gs>
            <a:gs pos="100000">
              <a:srgbClr val="303336"/>
            </a:gs>
          </a:gsLst>
          <a:lin ang="7200000" scaled="0"/>
        </a:gradFill>
        <a:effectLst/>
      </p:bgPr>
    </p:bg>
    <p:spTree>
      <p:nvGrpSpPr>
        <p:cNvPr id="1" name="">
          <a:extLst>
            <a:ext uri="{FF2B5EF4-FFF2-40B4-BE49-F238E27FC236}">
              <a16:creationId xmlns:a16="http://schemas.microsoft.com/office/drawing/2014/main" id="{54F599A7-11BA-1C3D-1C84-B2B43E5A3F41}"/>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C63EE8F1-416B-EDF2-A16A-A07F1748589D}"/>
              </a:ext>
            </a:extLst>
          </p:cNvPr>
          <p:cNvSpPr txBox="1">
            <a:spLocks/>
          </p:cNvSpPr>
          <p:nvPr/>
        </p:nvSpPr>
        <p:spPr>
          <a:xfrm>
            <a:off x="365759" y="382864"/>
            <a:ext cx="10030098" cy="73701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800" b="1" i="0" kern="1200">
                <a:solidFill>
                  <a:schemeClr val="tx2"/>
                </a:solidFill>
                <a:latin typeface="Tiempos Headline Semibold" panose="02020703060303060403" pitchFamily="18" charset="77"/>
                <a:ea typeface="+mj-ea"/>
                <a:cs typeface="Times New Roman" panose="02020603050405020304" pitchFamily="18" charset="0"/>
              </a:defRPr>
            </a:lvl1pPr>
          </a:lstStyle>
          <a:p>
            <a:r>
              <a:rPr lang="en-US">
                <a:solidFill>
                  <a:schemeClr val="bg1"/>
                </a:solidFill>
              </a:rPr>
              <a:t>AI Assistance Examples</a:t>
            </a:r>
          </a:p>
        </p:txBody>
      </p:sp>
      <p:pic>
        <p:nvPicPr>
          <p:cNvPr id="16" name="Picture 15">
            <a:extLst>
              <a:ext uri="{FF2B5EF4-FFF2-40B4-BE49-F238E27FC236}">
                <a16:creationId xmlns:a16="http://schemas.microsoft.com/office/drawing/2014/main" id="{618D6258-3582-A056-FCE1-900A53058A4E}"/>
              </a:ext>
            </a:extLst>
          </p:cNvPr>
          <p:cNvPicPr>
            <a:picLocks noChangeAspect="1"/>
          </p:cNvPicPr>
          <p:nvPr/>
        </p:nvPicPr>
        <p:blipFill>
          <a:blip r:embed="rId3"/>
          <a:srcRect/>
          <a:stretch/>
        </p:blipFill>
        <p:spPr>
          <a:xfrm>
            <a:off x="2733110" y="3130338"/>
            <a:ext cx="2546206" cy="1841937"/>
          </a:xfrm>
          <a:prstGeom prst="rect">
            <a:avLst/>
          </a:prstGeom>
          <a:noFill/>
          <a:scene3d>
            <a:camera prst="isometricOffAxis1Left">
              <a:rot lat="1080000" lon="1800000" rev="0"/>
            </a:camera>
            <a:lightRig rig="threePt" dir="t"/>
          </a:scene3d>
          <a:sp3d/>
        </p:spPr>
      </p:pic>
      <p:sp>
        <p:nvSpPr>
          <p:cNvPr id="15" name="Triangle 14">
            <a:extLst>
              <a:ext uri="{FF2B5EF4-FFF2-40B4-BE49-F238E27FC236}">
                <a16:creationId xmlns:a16="http://schemas.microsoft.com/office/drawing/2014/main" id="{6AE3FF4B-781D-530A-0C34-E7EE299C9D52}"/>
              </a:ext>
            </a:extLst>
          </p:cNvPr>
          <p:cNvSpPr/>
          <p:nvPr/>
        </p:nvSpPr>
        <p:spPr>
          <a:xfrm rot="5400000" flipH="1" flipV="1">
            <a:off x="1832079" y="2800360"/>
            <a:ext cx="1739216" cy="2399170"/>
          </a:xfrm>
          <a:prstGeom prst="triangle">
            <a:avLst>
              <a:gd name="adj" fmla="val 65117"/>
            </a:avLst>
          </a:prstGeom>
          <a:solidFill>
            <a:schemeClr val="bg1">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srgbClr val="FFFFFF"/>
              </a:solidFill>
              <a:effectLst/>
              <a:uLnTx/>
              <a:uFillTx/>
              <a:latin typeface="TT Commons Pro" panose="020B0103030102020204" pitchFamily="34" charset="77"/>
              <a:ea typeface="+mn-ea"/>
              <a:cs typeface="+mn-cs"/>
            </a:endParaRPr>
          </a:p>
        </p:txBody>
      </p:sp>
      <p:pic>
        <p:nvPicPr>
          <p:cNvPr id="12" name="Picture 11" descr="A blue and green eye with a black circle and blue lights&#10;&#10;Description automatically generated with medium confidence">
            <a:extLst>
              <a:ext uri="{FF2B5EF4-FFF2-40B4-BE49-F238E27FC236}">
                <a16:creationId xmlns:a16="http://schemas.microsoft.com/office/drawing/2014/main" id="{43ED0B6E-DAA8-542D-22DA-A3D913555198}"/>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961" b="89941" l="7031" r="89941">
                        <a14:foregroundMark x1="8301" y1="62891" x2="5859" y2="53809"/>
                        <a14:foregroundMark x1="5859" y1="53809" x2="7031" y2="35059"/>
                        <a14:foregroundMark x1="7031" y1="35059" x2="12402" y2="29590"/>
                        <a14:backgroundMark x1="13184" y1="77637" x2="19727" y2="82129"/>
                      </a14:backgroundRemoval>
                    </a14:imgEffect>
                  </a14:imgLayer>
                </a14:imgProps>
              </a:ext>
            </a:extLst>
          </a:blip>
          <a:stretch>
            <a:fillRect/>
          </a:stretch>
        </p:blipFill>
        <p:spPr>
          <a:xfrm>
            <a:off x="742170" y="3130338"/>
            <a:ext cx="1541557" cy="1541557"/>
          </a:xfrm>
          <a:prstGeom prst="rect">
            <a:avLst/>
          </a:prstGeom>
          <a:effectLst>
            <a:outerShdw blurRad="218003" dist="38100" dir="8100000" sx="102000" sy="102000" algn="tr" rotWithShape="0">
              <a:schemeClr val="bg1">
                <a:alpha val="24752"/>
              </a:schemeClr>
            </a:outerShdw>
          </a:effectLst>
        </p:spPr>
      </p:pic>
      <p:sp>
        <p:nvSpPr>
          <p:cNvPr id="10" name="TextBox 9">
            <a:extLst>
              <a:ext uri="{FF2B5EF4-FFF2-40B4-BE49-F238E27FC236}">
                <a16:creationId xmlns:a16="http://schemas.microsoft.com/office/drawing/2014/main" id="{FCB30B5C-696F-B11E-1559-C23A7BF52D57}"/>
              </a:ext>
            </a:extLst>
          </p:cNvPr>
          <p:cNvSpPr txBox="1"/>
          <p:nvPr/>
        </p:nvSpPr>
        <p:spPr>
          <a:xfrm>
            <a:off x="742170" y="1826220"/>
            <a:ext cx="4903256" cy="523220"/>
          </a:xfrm>
          <a:prstGeom prst="rect">
            <a:avLst/>
          </a:prstGeom>
          <a:noFill/>
        </p:spPr>
        <p:txBody>
          <a:bodyPr wrap="square" rtlCol="0">
            <a:spAutoFit/>
          </a:bodyPr>
          <a:lstStyle/>
          <a:p>
            <a:pPr algn="ctr"/>
            <a:r>
              <a:rPr lang="en-US" sz="2800" b="1">
                <a:solidFill>
                  <a:schemeClr val="bg1"/>
                </a:solidFill>
                <a:latin typeface="TT Commons Pro" panose="020B0103030102020204" pitchFamily="34" charset="77"/>
              </a:rPr>
              <a:t>Compliance Checks</a:t>
            </a:r>
          </a:p>
        </p:txBody>
      </p:sp>
    </p:spTree>
    <p:extLst>
      <p:ext uri="{BB962C8B-B14F-4D97-AF65-F5344CB8AC3E}">
        <p14:creationId xmlns:p14="http://schemas.microsoft.com/office/powerpoint/2010/main" val="35108289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85FCB-2BAB-0693-DC93-F415256E36D7}"/>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C4052757-C7D5-3C90-04E5-304A7D456CBF}"/>
              </a:ext>
            </a:extLst>
          </p:cNvPr>
          <p:cNvSpPr>
            <a:spLocks/>
          </p:cNvSpPr>
          <p:nvPr/>
        </p:nvSpPr>
        <p:spPr>
          <a:xfrm>
            <a:off x="0" y="1468192"/>
            <a:ext cx="4226859" cy="538980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7BA6665-FDE6-AE2B-B328-41A35CBED219}"/>
              </a:ext>
            </a:extLst>
          </p:cNvPr>
          <p:cNvSpPr>
            <a:spLocks/>
          </p:cNvSpPr>
          <p:nvPr/>
        </p:nvSpPr>
        <p:spPr>
          <a:xfrm>
            <a:off x="1" y="1642056"/>
            <a:ext cx="4054288" cy="5215944"/>
          </a:xfrm>
          <a:prstGeom prst="rect">
            <a:avLst/>
          </a:prstGeom>
          <a:solidFill>
            <a:srgbClr val="3D444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bject 15">
            <a:extLst>
              <a:ext uri="{FF2B5EF4-FFF2-40B4-BE49-F238E27FC236}">
                <a16:creationId xmlns:a16="http://schemas.microsoft.com/office/drawing/2014/main" id="{0AFCC972-F91A-A206-D8A2-7D8D57887106}"/>
              </a:ext>
            </a:extLst>
          </p:cNvPr>
          <p:cNvSpPr txBox="1"/>
          <p:nvPr/>
        </p:nvSpPr>
        <p:spPr>
          <a:xfrm>
            <a:off x="379927" y="2212290"/>
            <a:ext cx="3463203" cy="4075475"/>
          </a:xfrm>
          <a:prstGeom prst="rect">
            <a:avLst/>
          </a:prstGeom>
        </p:spPr>
        <p:txBody>
          <a:bodyPr vert="horz" wrap="square" lIns="91440" tIns="12700" rIns="0" bIns="0" rtlCol="0" anchor="t">
            <a:spAutoFit/>
          </a:bodyPr>
          <a:lstStyle/>
          <a:p>
            <a:r>
              <a:rPr lang="en-US" sz="4400" b="1">
                <a:solidFill>
                  <a:schemeClr val="bg1"/>
                </a:solidFill>
                <a:latin typeface="Tiempos Headline Semibold" panose="02020703060303060403" pitchFamily="18" charset="77"/>
                <a:cs typeface="Times New Roman"/>
              </a:rPr>
              <a:t>Where things </a:t>
            </a:r>
            <a:br>
              <a:rPr lang="en-US" sz="4400" b="1">
                <a:solidFill>
                  <a:schemeClr val="bg1"/>
                </a:solidFill>
                <a:latin typeface="Tiempos Headline Semibold" panose="02020703060303060403" pitchFamily="18" charset="77"/>
                <a:cs typeface="Times New Roman"/>
              </a:rPr>
            </a:br>
            <a:r>
              <a:rPr lang="en-US" sz="4400" b="1">
                <a:solidFill>
                  <a:schemeClr val="bg1"/>
                </a:solidFill>
                <a:latin typeface="Tiempos Headline Semibold" panose="02020703060303060403" pitchFamily="18" charset="77"/>
                <a:cs typeface="Times New Roman"/>
              </a:rPr>
              <a:t>go wrong </a:t>
            </a:r>
            <a:br>
              <a:rPr lang="en-US" sz="4400" b="1">
                <a:solidFill>
                  <a:schemeClr val="bg1"/>
                </a:solidFill>
                <a:latin typeface="Tiempos Headline Semibold" panose="02020703060303060403" pitchFamily="18" charset="77"/>
                <a:cs typeface="Times New Roman"/>
              </a:rPr>
            </a:br>
            <a:r>
              <a:rPr lang="en-US" sz="4400" b="1">
                <a:solidFill>
                  <a:schemeClr val="bg1"/>
                </a:solidFill>
                <a:latin typeface="Tiempos Headline Semibold" panose="02020703060303060403" pitchFamily="18" charset="77"/>
                <a:cs typeface="Times New Roman"/>
              </a:rPr>
              <a:t>in label compliance checks…</a:t>
            </a:r>
          </a:p>
        </p:txBody>
      </p:sp>
      <p:sp>
        <p:nvSpPr>
          <p:cNvPr id="8" name="Title 1">
            <a:extLst>
              <a:ext uri="{FF2B5EF4-FFF2-40B4-BE49-F238E27FC236}">
                <a16:creationId xmlns:a16="http://schemas.microsoft.com/office/drawing/2014/main" id="{E67C719D-F45C-5D2F-5CF7-D8DC1852223B}"/>
              </a:ext>
            </a:extLst>
          </p:cNvPr>
          <p:cNvSpPr txBox="1">
            <a:spLocks/>
          </p:cNvSpPr>
          <p:nvPr/>
        </p:nvSpPr>
        <p:spPr>
          <a:xfrm>
            <a:off x="365759" y="382864"/>
            <a:ext cx="10030098" cy="73701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800" b="1" i="0" kern="1200">
                <a:solidFill>
                  <a:schemeClr val="tx2"/>
                </a:solidFill>
                <a:latin typeface="Tiempos Headline Semibold" panose="02020703060303060403" pitchFamily="18" charset="77"/>
                <a:ea typeface="+mj-ea"/>
                <a:cs typeface="Times New Roman" panose="02020603050405020304" pitchFamily="18" charset="0"/>
              </a:defRPr>
            </a:lvl1pPr>
          </a:lstStyle>
          <a:p>
            <a:r>
              <a:rPr lang="en-US"/>
              <a:t>AI Assisted Compliance  Checks</a:t>
            </a:r>
          </a:p>
        </p:txBody>
      </p:sp>
      <p:sp>
        <p:nvSpPr>
          <p:cNvPr id="9" name="Content Placeholder 3">
            <a:extLst>
              <a:ext uri="{FF2B5EF4-FFF2-40B4-BE49-F238E27FC236}">
                <a16:creationId xmlns:a16="http://schemas.microsoft.com/office/drawing/2014/main" id="{2DE945FD-AD19-85C0-2CBD-94036D067D4E}"/>
              </a:ext>
            </a:extLst>
          </p:cNvPr>
          <p:cNvSpPr txBox="1">
            <a:spLocks/>
          </p:cNvSpPr>
          <p:nvPr/>
        </p:nvSpPr>
        <p:spPr>
          <a:xfrm>
            <a:off x="4938610" y="2339788"/>
            <a:ext cx="5967138" cy="3973774"/>
          </a:xfrm>
          <a:prstGeom prst="rect">
            <a:avLst/>
          </a:prstGeom>
        </p:spPr>
        <p:txBody>
          <a:bodyPr>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bg1"/>
                </a:solidFill>
                <a:latin typeface="TT Commons Pro" panose="020B0103030102020204" pitchFamily="34" charset="77"/>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bg1"/>
                </a:solidFill>
                <a:latin typeface="TT Commons Pro" panose="020B0103030102020204" pitchFamily="34" charset="77"/>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bg1"/>
                </a:solidFill>
                <a:latin typeface="TT Commons Pro" panose="020B0103030102020204" pitchFamily="34" charset="77"/>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bg1"/>
                </a:solidFill>
                <a:latin typeface="TT Commons Pro" panose="020B0103030102020204" pitchFamily="34" charset="77"/>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bg1"/>
                </a:solidFill>
                <a:latin typeface="TT Commons Pro" panose="020B0103030102020204" pitchFamily="34" charset="77"/>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20000"/>
              </a:lnSpc>
              <a:buClr>
                <a:schemeClr val="accent1"/>
              </a:buClr>
            </a:pPr>
            <a:r>
              <a:rPr lang="en-US" sz="2400">
                <a:solidFill>
                  <a:srgbClr val="444B53"/>
                </a:solidFill>
              </a:rPr>
              <a:t>Critical information, such as missing </a:t>
            </a:r>
            <a:br>
              <a:rPr lang="en-US" sz="2400">
                <a:solidFill>
                  <a:srgbClr val="444B53"/>
                </a:solidFill>
              </a:rPr>
            </a:br>
            <a:r>
              <a:rPr lang="en-US" sz="2400">
                <a:solidFill>
                  <a:srgbClr val="444B53"/>
                </a:solidFill>
              </a:rPr>
              <a:t>or outdated statements</a:t>
            </a:r>
          </a:p>
          <a:p>
            <a:pPr marL="285750" indent="-285750">
              <a:lnSpc>
                <a:spcPct val="120000"/>
              </a:lnSpc>
              <a:buClr>
                <a:schemeClr val="accent1"/>
              </a:buClr>
            </a:pPr>
            <a:r>
              <a:rPr lang="en-US" sz="2400">
                <a:solidFill>
                  <a:srgbClr val="444B53"/>
                </a:solidFill>
              </a:rPr>
              <a:t>Market/region-specific rules overlooked </a:t>
            </a:r>
            <a:endParaRPr lang="en-US" sz="2400"/>
          </a:p>
          <a:p>
            <a:pPr marL="285750" indent="-285750">
              <a:lnSpc>
                <a:spcPct val="120000"/>
              </a:lnSpc>
              <a:buClr>
                <a:schemeClr val="accent1"/>
              </a:buClr>
            </a:pPr>
            <a:r>
              <a:rPr lang="en-US" sz="2400">
                <a:solidFill>
                  <a:srgbClr val="444B53"/>
                </a:solidFill>
              </a:rPr>
              <a:t>Versions mixed up during handovers</a:t>
            </a:r>
            <a:endParaRPr lang="en-US" sz="2400"/>
          </a:p>
          <a:p>
            <a:pPr marL="285750" indent="-285750">
              <a:lnSpc>
                <a:spcPct val="120000"/>
              </a:lnSpc>
              <a:buClr>
                <a:schemeClr val="accent1"/>
              </a:buClr>
            </a:pPr>
            <a:r>
              <a:rPr lang="en-US" sz="2400">
                <a:solidFill>
                  <a:srgbClr val="444B53"/>
                </a:solidFill>
              </a:rPr>
              <a:t>Changes made after final reviews</a:t>
            </a:r>
            <a:endParaRPr lang="en-US" sz="2400"/>
          </a:p>
          <a:p>
            <a:pPr marL="285750" indent="-285750">
              <a:lnSpc>
                <a:spcPct val="120000"/>
              </a:lnSpc>
              <a:buClr>
                <a:schemeClr val="accent1"/>
              </a:buClr>
            </a:pPr>
            <a:r>
              <a:rPr lang="en-US" sz="2400">
                <a:solidFill>
                  <a:srgbClr val="444B53"/>
                </a:solidFill>
              </a:rPr>
              <a:t>Errors discovered at print stage (or later)</a:t>
            </a:r>
          </a:p>
        </p:txBody>
      </p:sp>
    </p:spTree>
    <p:extLst>
      <p:ext uri="{BB962C8B-B14F-4D97-AF65-F5344CB8AC3E}">
        <p14:creationId xmlns:p14="http://schemas.microsoft.com/office/powerpoint/2010/main" val="171969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rgbClr val="576575"/>
            </a:gs>
            <a:gs pos="100000">
              <a:srgbClr val="303336"/>
            </a:gs>
          </a:gsLst>
          <a:lin ang="7200000" scaled="0"/>
        </a:gradFill>
        <a:effectLst/>
      </p:bgPr>
    </p:bg>
    <p:spTree>
      <p:nvGrpSpPr>
        <p:cNvPr id="1" name="">
          <a:extLst>
            <a:ext uri="{FF2B5EF4-FFF2-40B4-BE49-F238E27FC236}">
              <a16:creationId xmlns:a16="http://schemas.microsoft.com/office/drawing/2014/main" id="{EB695049-35E4-DDFF-3462-DDC8C55509BD}"/>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B1A2472B-7AB6-26BA-097D-F2D5AB9D3047}"/>
              </a:ext>
            </a:extLst>
          </p:cNvPr>
          <p:cNvSpPr txBox="1">
            <a:spLocks/>
          </p:cNvSpPr>
          <p:nvPr/>
        </p:nvSpPr>
        <p:spPr>
          <a:xfrm>
            <a:off x="365758" y="382864"/>
            <a:ext cx="11064241" cy="73701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800" b="1" i="0" kern="1200">
                <a:solidFill>
                  <a:schemeClr val="tx2"/>
                </a:solidFill>
                <a:latin typeface="Tiempos Headline Semibold" panose="02020703060303060403" pitchFamily="18" charset="77"/>
                <a:ea typeface="+mj-ea"/>
                <a:cs typeface="Times New Roman" panose="02020603050405020304" pitchFamily="18" charset="0"/>
              </a:defRPr>
            </a:lvl1pPr>
          </a:lstStyle>
          <a:p>
            <a:r>
              <a:rPr lang="en-US">
                <a:solidFill>
                  <a:schemeClr val="bg1"/>
                </a:solidFill>
              </a:rPr>
              <a:t>AI Assisted Compliance Checks</a:t>
            </a:r>
          </a:p>
        </p:txBody>
      </p:sp>
      <p:pic>
        <p:nvPicPr>
          <p:cNvPr id="16" name="Picture 15">
            <a:extLst>
              <a:ext uri="{FF2B5EF4-FFF2-40B4-BE49-F238E27FC236}">
                <a16:creationId xmlns:a16="http://schemas.microsoft.com/office/drawing/2014/main" id="{19509451-A073-B1C5-4A4C-3DE3456DEB07}"/>
              </a:ext>
            </a:extLst>
          </p:cNvPr>
          <p:cNvPicPr>
            <a:picLocks noChangeAspect="1"/>
          </p:cNvPicPr>
          <p:nvPr/>
        </p:nvPicPr>
        <p:blipFill>
          <a:blip r:embed="rId3"/>
          <a:srcRect/>
          <a:stretch/>
        </p:blipFill>
        <p:spPr>
          <a:xfrm>
            <a:off x="9227695" y="2694034"/>
            <a:ext cx="2546206" cy="1841937"/>
          </a:xfrm>
          <a:prstGeom prst="rect">
            <a:avLst/>
          </a:prstGeom>
          <a:noFill/>
          <a:scene3d>
            <a:camera prst="isometricOffAxis1Left">
              <a:rot lat="1080000" lon="1800000" rev="0"/>
            </a:camera>
            <a:lightRig rig="threePt" dir="t"/>
          </a:scene3d>
          <a:sp3d/>
        </p:spPr>
      </p:pic>
      <p:sp>
        <p:nvSpPr>
          <p:cNvPr id="15" name="Triangle 14">
            <a:extLst>
              <a:ext uri="{FF2B5EF4-FFF2-40B4-BE49-F238E27FC236}">
                <a16:creationId xmlns:a16="http://schemas.microsoft.com/office/drawing/2014/main" id="{CD72FF80-4DCD-6127-A321-B4A0D70C343E}"/>
              </a:ext>
            </a:extLst>
          </p:cNvPr>
          <p:cNvSpPr/>
          <p:nvPr/>
        </p:nvSpPr>
        <p:spPr>
          <a:xfrm rot="5400000" flipH="1" flipV="1">
            <a:off x="8326664" y="2364056"/>
            <a:ext cx="1739216" cy="2399170"/>
          </a:xfrm>
          <a:prstGeom prst="triangle">
            <a:avLst>
              <a:gd name="adj" fmla="val 65117"/>
            </a:avLst>
          </a:prstGeom>
          <a:solidFill>
            <a:schemeClr val="bg1">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srgbClr val="FFFFFF"/>
              </a:solidFill>
              <a:effectLst/>
              <a:uLnTx/>
              <a:uFillTx/>
              <a:latin typeface="TT Commons Pro" panose="020B0103030102020204" pitchFamily="34" charset="77"/>
              <a:ea typeface="+mn-ea"/>
              <a:cs typeface="+mn-cs"/>
            </a:endParaRPr>
          </a:p>
        </p:txBody>
      </p:sp>
      <p:pic>
        <p:nvPicPr>
          <p:cNvPr id="12" name="Picture 11" descr="A blue and green eye with a black circle and blue lights&#10;&#10;Description automatically generated with medium confidence">
            <a:extLst>
              <a:ext uri="{FF2B5EF4-FFF2-40B4-BE49-F238E27FC236}">
                <a16:creationId xmlns:a16="http://schemas.microsoft.com/office/drawing/2014/main" id="{75AFE9EC-BC38-589D-37D4-55900444027A}"/>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961" b="89941" l="7031" r="89941">
                        <a14:foregroundMark x1="8301" y1="62891" x2="5859" y2="53809"/>
                        <a14:foregroundMark x1="5859" y1="53809" x2="7031" y2="35059"/>
                        <a14:foregroundMark x1="7031" y1="35059" x2="12402" y2="29590"/>
                        <a14:backgroundMark x1="13184" y1="77637" x2="19727" y2="82129"/>
                      </a14:backgroundRemoval>
                    </a14:imgEffect>
                  </a14:imgLayer>
                </a14:imgProps>
              </a:ext>
            </a:extLst>
          </a:blip>
          <a:stretch>
            <a:fillRect/>
          </a:stretch>
        </p:blipFill>
        <p:spPr>
          <a:xfrm>
            <a:off x="7236755" y="2694034"/>
            <a:ext cx="1541557" cy="1541557"/>
          </a:xfrm>
          <a:prstGeom prst="rect">
            <a:avLst/>
          </a:prstGeom>
          <a:effectLst>
            <a:outerShdw blurRad="218003" dist="38100" dir="8100000" sx="102000" sy="102000" algn="tr" rotWithShape="0">
              <a:schemeClr val="bg1">
                <a:alpha val="24752"/>
              </a:schemeClr>
            </a:outerShdw>
          </a:effectLst>
        </p:spPr>
      </p:pic>
      <p:sp>
        <p:nvSpPr>
          <p:cNvPr id="9" name="TextBox 8">
            <a:extLst>
              <a:ext uri="{FF2B5EF4-FFF2-40B4-BE49-F238E27FC236}">
                <a16:creationId xmlns:a16="http://schemas.microsoft.com/office/drawing/2014/main" id="{35888F0D-B6CD-5FF4-9AB0-D86A9868117D}"/>
              </a:ext>
            </a:extLst>
          </p:cNvPr>
          <p:cNvSpPr txBox="1"/>
          <p:nvPr/>
        </p:nvSpPr>
        <p:spPr>
          <a:xfrm>
            <a:off x="539408" y="1717024"/>
            <a:ext cx="6695680" cy="3110723"/>
          </a:xfrm>
          <a:prstGeom prst="rect">
            <a:avLst/>
          </a:prstGeom>
          <a:noFill/>
        </p:spPr>
        <p:txBody>
          <a:bodyPr wrap="square">
            <a:spAutoFit/>
          </a:bodyPr>
          <a:lstStyle/>
          <a:p>
            <a:pPr marL="10160" indent="0">
              <a:lnSpc>
                <a:spcPct val="150000"/>
              </a:lnSpc>
              <a:buNone/>
            </a:pPr>
            <a:r>
              <a:rPr lang="en-US" sz="2000">
                <a:solidFill>
                  <a:schemeClr val="bg1"/>
                </a:solidFill>
                <a:latin typeface="TT Commons Pro"/>
              </a:rPr>
              <a:t>Designed to eliminate manual repetitive checks and errors from Artwork review process</a:t>
            </a:r>
          </a:p>
          <a:p>
            <a:pPr marL="10160" indent="0">
              <a:lnSpc>
                <a:spcPct val="150000"/>
              </a:lnSpc>
              <a:buNone/>
            </a:pPr>
            <a:r>
              <a:rPr lang="en-US" sz="2000" b="1">
                <a:solidFill>
                  <a:schemeClr val="bg1"/>
                </a:solidFill>
                <a:latin typeface="TT Commons Pro"/>
                <a:ea typeface="+mn-lt"/>
                <a:cs typeface="+mn-lt"/>
              </a:rPr>
              <a:t>Productivity Acceleration: </a:t>
            </a:r>
            <a:r>
              <a:rPr lang="en-US" sz="2000">
                <a:solidFill>
                  <a:schemeClr val="bg1"/>
                </a:solidFill>
                <a:latin typeface="TT Commons Pro"/>
                <a:ea typeface="+mn-lt"/>
                <a:cs typeface="+mn-lt"/>
              </a:rPr>
              <a:t> Removes mechanical verification work from reviewers, and shortens review timelines</a:t>
            </a:r>
            <a:endParaRPr lang="en-US" sz="2000">
              <a:solidFill>
                <a:schemeClr val="bg1"/>
              </a:solidFill>
              <a:latin typeface="TT Commons Pro"/>
            </a:endParaRPr>
          </a:p>
          <a:p>
            <a:pPr marL="10160" indent="0">
              <a:lnSpc>
                <a:spcPct val="150000"/>
              </a:lnSpc>
              <a:buNone/>
            </a:pPr>
            <a:r>
              <a:rPr lang="en-US" sz="2000" b="1">
                <a:solidFill>
                  <a:schemeClr val="bg1"/>
                </a:solidFill>
                <a:latin typeface="TT Commons Pro"/>
              </a:rPr>
              <a:t>Risk Reduction: </a:t>
            </a:r>
            <a:r>
              <a:rPr lang="en-US" sz="2000">
                <a:solidFill>
                  <a:schemeClr val="bg1"/>
                </a:solidFill>
                <a:latin typeface="TT Commons Pro"/>
              </a:rPr>
              <a:t>Significantly lowers the risk of errors leading to changes or recalls</a:t>
            </a:r>
          </a:p>
          <a:p>
            <a:pPr algn="l" rtl="0" fontAlgn="base">
              <a:lnSpc>
                <a:spcPts val="1875"/>
              </a:lnSpc>
              <a:spcAft>
                <a:spcPts val="1200"/>
              </a:spcAft>
              <a:buNone/>
            </a:pPr>
            <a:r>
              <a:rPr lang="en-US" sz="2000" b="0" i="0">
                <a:solidFill>
                  <a:srgbClr val="FFFFFF"/>
                </a:solidFill>
                <a:effectLst/>
                <a:latin typeface="TT Commons Pro Light" panose="020B0103030102020204" pitchFamily="34" charset="77"/>
              </a:rPr>
              <a:t>​</a:t>
            </a:r>
            <a:endParaRPr lang="en-US" sz="2000" b="0" i="0">
              <a:solidFill>
                <a:srgbClr val="FFFFFF"/>
              </a:solidFill>
              <a:effectLst/>
              <a:latin typeface="Segoe UI" panose="020B0502040204020203" pitchFamily="34" charset="0"/>
            </a:endParaRPr>
          </a:p>
        </p:txBody>
      </p:sp>
      <p:sp>
        <p:nvSpPr>
          <p:cNvPr id="2" name="TextBox 1">
            <a:extLst>
              <a:ext uri="{FF2B5EF4-FFF2-40B4-BE49-F238E27FC236}">
                <a16:creationId xmlns:a16="http://schemas.microsoft.com/office/drawing/2014/main" id="{89BB8586-966D-A942-82F6-331C431BD691}"/>
              </a:ext>
            </a:extLst>
          </p:cNvPr>
          <p:cNvSpPr txBox="1"/>
          <p:nvPr/>
        </p:nvSpPr>
        <p:spPr>
          <a:xfrm>
            <a:off x="2300973" y="5469333"/>
            <a:ext cx="8376406" cy="745653"/>
          </a:xfrm>
          <a:prstGeom prst="rect">
            <a:avLst/>
          </a:prstGeom>
          <a:noFill/>
        </p:spPr>
        <p:txBody>
          <a:bodyPr wrap="square">
            <a:spAutoFit/>
          </a:bodyPr>
          <a:lstStyle/>
          <a:p>
            <a:pPr algn="l" rtl="0" fontAlgn="base">
              <a:lnSpc>
                <a:spcPts val="1875"/>
              </a:lnSpc>
              <a:spcAft>
                <a:spcPts val="1200"/>
              </a:spcAft>
              <a:buNone/>
            </a:pPr>
            <a:r>
              <a:rPr lang="en-US" sz="2400" b="0" i="0">
                <a:solidFill>
                  <a:srgbClr val="FFFFFF"/>
                </a:solidFill>
                <a:effectLst/>
                <a:latin typeface="TT Commons Pro Light" panose="020B0103030102020204" pitchFamily="34" charset="77"/>
              </a:rPr>
              <a:t>​</a:t>
            </a:r>
            <a:endParaRPr lang="en-US" sz="2400" b="0" i="0">
              <a:solidFill>
                <a:srgbClr val="FFFFFF"/>
              </a:solidFill>
              <a:effectLst/>
              <a:latin typeface="Segoe UI" panose="020B0502040204020203" pitchFamily="34" charset="0"/>
            </a:endParaRPr>
          </a:p>
          <a:p>
            <a:pPr algn="l" rtl="0" fontAlgn="base">
              <a:lnSpc>
                <a:spcPts val="1875"/>
              </a:lnSpc>
              <a:spcAft>
                <a:spcPts val="1200"/>
              </a:spcAft>
              <a:buNone/>
            </a:pPr>
            <a:r>
              <a:rPr lang="en-US" sz="2400" b="1" i="0" u="none" strike="noStrike">
                <a:solidFill>
                  <a:srgbClr val="FFFFFF"/>
                </a:solidFill>
                <a:effectLst/>
                <a:latin typeface="TT Commons Pro" panose="020B0103030102020204" pitchFamily="34" charset="77"/>
              </a:rPr>
              <a:t>Quality becomes part of the execution, not a final gate.</a:t>
            </a:r>
            <a:endParaRPr lang="en-US" sz="2400" b="0" i="0">
              <a:solidFill>
                <a:srgbClr val="FFFFFF"/>
              </a:solidFill>
              <a:effectLst/>
              <a:latin typeface="Segoe UI" panose="020B0502040204020203" pitchFamily="34" charset="0"/>
            </a:endParaRPr>
          </a:p>
        </p:txBody>
      </p:sp>
    </p:spTree>
    <p:extLst>
      <p:ext uri="{BB962C8B-B14F-4D97-AF65-F5344CB8AC3E}">
        <p14:creationId xmlns:p14="http://schemas.microsoft.com/office/powerpoint/2010/main" val="31251838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A948E-01FA-46C1-A233-9ADB0E2AC66B}"/>
            </a:ext>
          </a:extLst>
        </p:cNvPr>
        <p:cNvGrpSpPr/>
        <p:nvPr/>
      </p:nvGrpSpPr>
      <p:grpSpPr>
        <a:xfrm>
          <a:off x="0" y="0"/>
          <a:ext cx="0" cy="0"/>
          <a:chOff x="0" y="0"/>
          <a:chExt cx="0" cy="0"/>
        </a:xfrm>
      </p:grpSpPr>
      <p:sp>
        <p:nvSpPr>
          <p:cNvPr id="462" name="Rounded Rectangle 415">
            <a:extLst>
              <a:ext uri="{FF2B5EF4-FFF2-40B4-BE49-F238E27FC236}">
                <a16:creationId xmlns:a16="http://schemas.microsoft.com/office/drawing/2014/main" id="{2EFEE850-8A60-D555-0DC6-69A220B34C9D}"/>
              </a:ext>
            </a:extLst>
          </p:cNvPr>
          <p:cNvSpPr/>
          <p:nvPr/>
        </p:nvSpPr>
        <p:spPr>
          <a:xfrm>
            <a:off x="1289053" y="4213975"/>
            <a:ext cx="471252" cy="1274823"/>
          </a:xfrm>
          <a:custGeom>
            <a:avLst/>
            <a:gdLst>
              <a:gd name="csX0" fmla="*/ 0 w 1036473"/>
              <a:gd name="csY0" fmla="*/ 54716 h 1010833"/>
              <a:gd name="csX1" fmla="*/ 54716 w 1036473"/>
              <a:gd name="csY1" fmla="*/ 0 h 1010833"/>
              <a:gd name="csX2" fmla="*/ 981757 w 1036473"/>
              <a:gd name="csY2" fmla="*/ 0 h 1010833"/>
              <a:gd name="csX3" fmla="*/ 1036473 w 1036473"/>
              <a:gd name="csY3" fmla="*/ 54716 h 1010833"/>
              <a:gd name="csX4" fmla="*/ 1036473 w 1036473"/>
              <a:gd name="csY4" fmla="*/ 956117 h 1010833"/>
              <a:gd name="csX5" fmla="*/ 981757 w 1036473"/>
              <a:gd name="csY5" fmla="*/ 1010833 h 1010833"/>
              <a:gd name="csX6" fmla="*/ 54716 w 1036473"/>
              <a:gd name="csY6" fmla="*/ 1010833 h 1010833"/>
              <a:gd name="csX7" fmla="*/ 0 w 1036473"/>
              <a:gd name="csY7" fmla="*/ 956117 h 1010833"/>
              <a:gd name="csX8" fmla="*/ 0 w 1036473"/>
              <a:gd name="csY8" fmla="*/ 54716 h 1010833"/>
              <a:gd name="csX0" fmla="*/ 0 w 1036473"/>
              <a:gd name="csY0" fmla="*/ 88440 h 1044557"/>
              <a:gd name="csX1" fmla="*/ 981757 w 1036473"/>
              <a:gd name="csY1" fmla="*/ 33724 h 1044557"/>
              <a:gd name="csX2" fmla="*/ 1036473 w 1036473"/>
              <a:gd name="csY2" fmla="*/ 88440 h 1044557"/>
              <a:gd name="csX3" fmla="*/ 1036473 w 1036473"/>
              <a:gd name="csY3" fmla="*/ 989841 h 1044557"/>
              <a:gd name="csX4" fmla="*/ 981757 w 1036473"/>
              <a:gd name="csY4" fmla="*/ 1044557 h 1044557"/>
              <a:gd name="csX5" fmla="*/ 54716 w 1036473"/>
              <a:gd name="csY5" fmla="*/ 1044557 h 1044557"/>
              <a:gd name="csX6" fmla="*/ 0 w 1036473"/>
              <a:gd name="csY6" fmla="*/ 989841 h 1044557"/>
              <a:gd name="csX7" fmla="*/ 0 w 1036473"/>
              <a:gd name="csY7" fmla="*/ 88440 h 1044557"/>
              <a:gd name="csX0" fmla="*/ 0 w 1036473"/>
              <a:gd name="csY0" fmla="*/ 88440 h 1044557"/>
              <a:gd name="csX1" fmla="*/ 981757 w 1036473"/>
              <a:gd name="csY1" fmla="*/ 33724 h 1044557"/>
              <a:gd name="csX2" fmla="*/ 1036473 w 1036473"/>
              <a:gd name="csY2" fmla="*/ 88440 h 1044557"/>
              <a:gd name="csX3" fmla="*/ 1036473 w 1036473"/>
              <a:gd name="csY3" fmla="*/ 989841 h 1044557"/>
              <a:gd name="csX4" fmla="*/ 981757 w 1036473"/>
              <a:gd name="csY4" fmla="*/ 1044557 h 1044557"/>
              <a:gd name="csX5" fmla="*/ 54716 w 1036473"/>
              <a:gd name="csY5" fmla="*/ 1044557 h 1044557"/>
              <a:gd name="csX6" fmla="*/ 0 w 1036473"/>
              <a:gd name="csY6" fmla="*/ 989841 h 1044557"/>
              <a:gd name="csX7" fmla="*/ 91440 w 1036473"/>
              <a:gd name="csY7" fmla="*/ 179880 h 1044557"/>
              <a:gd name="csX0" fmla="*/ 0 w 1036473"/>
              <a:gd name="csY0" fmla="*/ 88440 h 1044557"/>
              <a:gd name="csX1" fmla="*/ 981757 w 1036473"/>
              <a:gd name="csY1" fmla="*/ 33724 h 1044557"/>
              <a:gd name="csX2" fmla="*/ 1036473 w 1036473"/>
              <a:gd name="csY2" fmla="*/ 88440 h 1044557"/>
              <a:gd name="csX3" fmla="*/ 1036473 w 1036473"/>
              <a:gd name="csY3" fmla="*/ 989841 h 1044557"/>
              <a:gd name="csX4" fmla="*/ 981757 w 1036473"/>
              <a:gd name="csY4" fmla="*/ 1044557 h 1044557"/>
              <a:gd name="csX5" fmla="*/ 54716 w 1036473"/>
              <a:gd name="csY5" fmla="*/ 1044557 h 1044557"/>
              <a:gd name="csX6" fmla="*/ 0 w 1036473"/>
              <a:gd name="csY6" fmla="*/ 989841 h 1044557"/>
              <a:gd name="csX0" fmla="*/ 0 w 1036473"/>
              <a:gd name="csY0" fmla="*/ 88440 h 1044557"/>
              <a:gd name="csX1" fmla="*/ 981757 w 1036473"/>
              <a:gd name="csY1" fmla="*/ 33724 h 1044557"/>
              <a:gd name="csX2" fmla="*/ 1036473 w 1036473"/>
              <a:gd name="csY2" fmla="*/ 88440 h 1044557"/>
              <a:gd name="csX3" fmla="*/ 1036473 w 1036473"/>
              <a:gd name="csY3" fmla="*/ 989841 h 1044557"/>
              <a:gd name="csX4" fmla="*/ 981757 w 1036473"/>
              <a:gd name="csY4" fmla="*/ 1044557 h 1044557"/>
              <a:gd name="csX5" fmla="*/ 54716 w 1036473"/>
              <a:gd name="csY5" fmla="*/ 1044557 h 1044557"/>
              <a:gd name="csX0" fmla="*/ 927041 w 981757"/>
              <a:gd name="csY0" fmla="*/ 0 h 1010833"/>
              <a:gd name="csX1" fmla="*/ 981757 w 981757"/>
              <a:gd name="csY1" fmla="*/ 54716 h 1010833"/>
              <a:gd name="csX2" fmla="*/ 981757 w 981757"/>
              <a:gd name="csY2" fmla="*/ 956117 h 1010833"/>
              <a:gd name="csX3" fmla="*/ 927041 w 981757"/>
              <a:gd name="csY3" fmla="*/ 1010833 h 1010833"/>
              <a:gd name="csX4" fmla="*/ 0 w 981757"/>
              <a:gd name="csY4" fmla="*/ 1010833 h 1010833"/>
              <a:gd name="csX0" fmla="*/ 981757 w 981757"/>
              <a:gd name="csY0" fmla="*/ 0 h 956117"/>
              <a:gd name="csX1" fmla="*/ 981757 w 981757"/>
              <a:gd name="csY1" fmla="*/ 901401 h 956117"/>
              <a:gd name="csX2" fmla="*/ 927041 w 981757"/>
              <a:gd name="csY2" fmla="*/ 956117 h 956117"/>
              <a:gd name="csX3" fmla="*/ 0 w 981757"/>
              <a:gd name="csY3" fmla="*/ 956117 h 956117"/>
              <a:gd name="csX0" fmla="*/ 530951 w 530951"/>
              <a:gd name="csY0" fmla="*/ 0 h 956117"/>
              <a:gd name="csX1" fmla="*/ 530951 w 530951"/>
              <a:gd name="csY1" fmla="*/ 901401 h 956117"/>
              <a:gd name="csX2" fmla="*/ 476235 w 530951"/>
              <a:gd name="csY2" fmla="*/ 956117 h 956117"/>
              <a:gd name="csX3" fmla="*/ 0 w 530951"/>
              <a:gd name="csY3" fmla="*/ 956117 h 956117"/>
              <a:gd name="csX0" fmla="*/ 572514 w 572514"/>
              <a:gd name="csY0" fmla="*/ 0 h 956117"/>
              <a:gd name="csX1" fmla="*/ 572514 w 572514"/>
              <a:gd name="csY1" fmla="*/ 901401 h 956117"/>
              <a:gd name="csX2" fmla="*/ 517798 w 572514"/>
              <a:gd name="csY2" fmla="*/ 956117 h 956117"/>
              <a:gd name="csX3" fmla="*/ 0 w 572514"/>
              <a:gd name="csY3" fmla="*/ 956117 h 956117"/>
              <a:gd name="csX0" fmla="*/ 353439 w 353439"/>
              <a:gd name="csY0" fmla="*/ 0 h 956117"/>
              <a:gd name="csX1" fmla="*/ 353439 w 353439"/>
              <a:gd name="csY1" fmla="*/ 901401 h 956117"/>
              <a:gd name="csX2" fmla="*/ 298723 w 353439"/>
              <a:gd name="csY2" fmla="*/ 956117 h 956117"/>
              <a:gd name="csX3" fmla="*/ 0 w 353439"/>
              <a:gd name="csY3" fmla="*/ 956117 h 956117"/>
            </a:gdLst>
            <a:ahLst/>
            <a:cxnLst>
              <a:cxn ang="0">
                <a:pos x="csX0" y="csY0"/>
              </a:cxn>
              <a:cxn ang="0">
                <a:pos x="csX1" y="csY1"/>
              </a:cxn>
              <a:cxn ang="0">
                <a:pos x="csX2" y="csY2"/>
              </a:cxn>
              <a:cxn ang="0">
                <a:pos x="csX3" y="csY3"/>
              </a:cxn>
            </a:cxnLst>
            <a:rect l="l" t="t" r="r" b="b"/>
            <a:pathLst>
              <a:path w="353439" h="956117">
                <a:moveTo>
                  <a:pt x="353439" y="0"/>
                </a:moveTo>
                <a:lnTo>
                  <a:pt x="353439" y="901401"/>
                </a:lnTo>
                <a:cubicBezTo>
                  <a:pt x="353439" y="931620"/>
                  <a:pt x="328942" y="956117"/>
                  <a:pt x="298723" y="956117"/>
                </a:cubicBezTo>
                <a:lnTo>
                  <a:pt x="0" y="956117"/>
                </a:lnTo>
              </a:path>
            </a:pathLst>
          </a:custGeom>
          <a:noFill/>
          <a:ln w="152400">
            <a:solidFill>
              <a:srgbClr val="D0DE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461" name="Group 460">
            <a:extLst>
              <a:ext uri="{FF2B5EF4-FFF2-40B4-BE49-F238E27FC236}">
                <a16:creationId xmlns:a16="http://schemas.microsoft.com/office/drawing/2014/main" id="{3D80DAFC-BEF3-0CD1-2E9F-E96332269E6A}"/>
              </a:ext>
            </a:extLst>
          </p:cNvPr>
          <p:cNvGrpSpPr/>
          <p:nvPr/>
        </p:nvGrpSpPr>
        <p:grpSpPr>
          <a:xfrm>
            <a:off x="4100221" y="1445207"/>
            <a:ext cx="5324664" cy="5134284"/>
            <a:chOff x="3075166" y="1083905"/>
            <a:chExt cx="3993498" cy="3850713"/>
          </a:xfrm>
        </p:grpSpPr>
        <p:sp>
          <p:nvSpPr>
            <p:cNvPr id="419" name="Rectangle 418">
              <a:extLst>
                <a:ext uri="{FF2B5EF4-FFF2-40B4-BE49-F238E27FC236}">
                  <a16:creationId xmlns:a16="http://schemas.microsoft.com/office/drawing/2014/main" id="{F769D1EC-E3E6-3D09-4E5A-72D918CBA256}"/>
                </a:ext>
              </a:extLst>
            </p:cNvPr>
            <p:cNvSpPr/>
            <p:nvPr/>
          </p:nvSpPr>
          <p:spPr>
            <a:xfrm>
              <a:off x="3075166" y="3031774"/>
              <a:ext cx="1434520" cy="153169"/>
            </a:xfrm>
            <a:prstGeom prst="rect">
              <a:avLst/>
            </a:prstGeom>
            <a:solidFill>
              <a:srgbClr val="D0D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442" name="Group 441">
              <a:extLst>
                <a:ext uri="{FF2B5EF4-FFF2-40B4-BE49-F238E27FC236}">
                  <a16:creationId xmlns:a16="http://schemas.microsoft.com/office/drawing/2014/main" id="{74D99BEF-B1BB-49CC-C1D6-41AFA9023C09}"/>
                </a:ext>
              </a:extLst>
            </p:cNvPr>
            <p:cNvGrpSpPr/>
            <p:nvPr/>
          </p:nvGrpSpPr>
          <p:grpSpPr>
            <a:xfrm>
              <a:off x="4509686" y="2425090"/>
              <a:ext cx="2187079" cy="1544723"/>
              <a:chOff x="4408679" y="2447931"/>
              <a:chExt cx="2187079" cy="1544723"/>
            </a:xfrm>
          </p:grpSpPr>
          <p:sp>
            <p:nvSpPr>
              <p:cNvPr id="435" name="Rounded Rectangle 434">
                <a:extLst>
                  <a:ext uri="{FF2B5EF4-FFF2-40B4-BE49-F238E27FC236}">
                    <a16:creationId xmlns:a16="http://schemas.microsoft.com/office/drawing/2014/main" id="{0FF16936-A16F-AC5A-2810-5918608AE51A}"/>
                  </a:ext>
                </a:extLst>
              </p:cNvPr>
              <p:cNvSpPr/>
              <p:nvPr/>
            </p:nvSpPr>
            <p:spPr>
              <a:xfrm>
                <a:off x="4408679" y="2447931"/>
                <a:ext cx="2187079" cy="1373908"/>
              </a:xfrm>
              <a:prstGeom prst="roundRect">
                <a:avLst>
                  <a:gd name="adj" fmla="val 11056"/>
                </a:avLst>
              </a:prstGeom>
              <a:solidFill>
                <a:schemeClr val="bg1">
                  <a:lumMod val="85000"/>
                </a:schemeClr>
              </a:solidFill>
              <a:ln w="28575">
                <a:solidFill>
                  <a:srgbClr val="002A3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438" name="Straight Connector 437">
                <a:extLst>
                  <a:ext uri="{FF2B5EF4-FFF2-40B4-BE49-F238E27FC236}">
                    <a16:creationId xmlns:a16="http://schemas.microsoft.com/office/drawing/2014/main" id="{08902BF2-021E-6AFC-455E-73C166FDE233}"/>
                  </a:ext>
                </a:extLst>
              </p:cNvPr>
              <p:cNvCxnSpPr>
                <a:cxnSpLocks/>
              </p:cNvCxnSpPr>
              <p:nvPr/>
            </p:nvCxnSpPr>
            <p:spPr>
              <a:xfrm>
                <a:off x="5145399" y="3992654"/>
                <a:ext cx="713639" cy="0"/>
              </a:xfrm>
              <a:prstGeom prst="line">
                <a:avLst/>
              </a:prstGeom>
              <a:ln w="28575" cap="rnd">
                <a:solidFill>
                  <a:srgbClr val="002A39"/>
                </a:solidFill>
              </a:ln>
            </p:spPr>
            <p:style>
              <a:lnRef idx="1">
                <a:schemeClr val="accent1"/>
              </a:lnRef>
              <a:fillRef idx="0">
                <a:schemeClr val="accent1"/>
              </a:fillRef>
              <a:effectRef idx="0">
                <a:schemeClr val="accent1"/>
              </a:effectRef>
              <a:fontRef idx="minor">
                <a:schemeClr val="tx1"/>
              </a:fontRef>
            </p:style>
          </p:cxnSp>
          <p:sp>
            <p:nvSpPr>
              <p:cNvPr id="439" name="Rectangle 438">
                <a:extLst>
                  <a:ext uri="{FF2B5EF4-FFF2-40B4-BE49-F238E27FC236}">
                    <a16:creationId xmlns:a16="http://schemas.microsoft.com/office/drawing/2014/main" id="{1F30C108-F31A-45EB-1B44-021DFD438E16}"/>
                  </a:ext>
                </a:extLst>
              </p:cNvPr>
              <p:cNvSpPr/>
              <p:nvPr/>
            </p:nvSpPr>
            <p:spPr>
              <a:xfrm>
                <a:off x="5250206" y="3821839"/>
                <a:ext cx="504025" cy="170815"/>
              </a:xfrm>
              <a:prstGeom prst="rect">
                <a:avLst/>
              </a:prstGeom>
              <a:solidFill>
                <a:srgbClr val="002A3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429" name="Group 428">
              <a:extLst>
                <a:ext uri="{FF2B5EF4-FFF2-40B4-BE49-F238E27FC236}">
                  <a16:creationId xmlns:a16="http://schemas.microsoft.com/office/drawing/2014/main" id="{32DEE3EB-4F69-226D-BE7C-55210AAB832D}"/>
                </a:ext>
              </a:extLst>
            </p:cNvPr>
            <p:cNvGrpSpPr/>
            <p:nvPr/>
          </p:nvGrpSpPr>
          <p:grpSpPr>
            <a:xfrm>
              <a:off x="4211226" y="1083905"/>
              <a:ext cx="2857438" cy="3850713"/>
              <a:chOff x="4211226" y="1083905"/>
              <a:chExt cx="2857438" cy="3850713"/>
            </a:xfrm>
          </p:grpSpPr>
          <p:sp>
            <p:nvSpPr>
              <p:cNvPr id="372" name="Rounded Rectangle 371">
                <a:extLst>
                  <a:ext uri="{FF2B5EF4-FFF2-40B4-BE49-F238E27FC236}">
                    <a16:creationId xmlns:a16="http://schemas.microsoft.com/office/drawing/2014/main" id="{920A75DA-5F74-9F9B-B5DD-DE04F48738AF}"/>
                  </a:ext>
                </a:extLst>
              </p:cNvPr>
              <p:cNvSpPr/>
              <p:nvPr/>
            </p:nvSpPr>
            <p:spPr>
              <a:xfrm>
                <a:off x="4211226" y="1257299"/>
                <a:ext cx="2857438" cy="3677319"/>
              </a:xfrm>
              <a:prstGeom prst="roundRect">
                <a:avLst>
                  <a:gd name="adj" fmla="val 5413"/>
                </a:avLst>
              </a:prstGeom>
              <a:noFill/>
              <a:ln>
                <a:solidFill>
                  <a:srgbClr val="2339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highlight>
                    <a:srgbClr val="002A39"/>
                  </a:highlight>
                </a:endParaRPr>
              </a:p>
            </p:txBody>
          </p:sp>
          <p:grpSp>
            <p:nvGrpSpPr>
              <p:cNvPr id="377" name="Group 376">
                <a:extLst>
                  <a:ext uri="{FF2B5EF4-FFF2-40B4-BE49-F238E27FC236}">
                    <a16:creationId xmlns:a16="http://schemas.microsoft.com/office/drawing/2014/main" id="{7B1A8A37-8259-DFB1-066B-9252950E5078}"/>
                  </a:ext>
                </a:extLst>
              </p:cNvPr>
              <p:cNvGrpSpPr/>
              <p:nvPr/>
            </p:nvGrpSpPr>
            <p:grpSpPr>
              <a:xfrm>
                <a:off x="5043871" y="1083905"/>
                <a:ext cx="1192147" cy="360000"/>
                <a:chOff x="5083347" y="422997"/>
                <a:chExt cx="1192147" cy="360000"/>
              </a:xfrm>
            </p:grpSpPr>
            <p:pic>
              <p:nvPicPr>
                <p:cNvPr id="374" name="Picture 373">
                  <a:extLst>
                    <a:ext uri="{FF2B5EF4-FFF2-40B4-BE49-F238E27FC236}">
                      <a16:creationId xmlns:a16="http://schemas.microsoft.com/office/drawing/2014/main" id="{D666D9C8-8DD6-F8B9-D877-6C0D2C329BD7}"/>
                    </a:ext>
                  </a:extLst>
                </p:cNvPr>
                <p:cNvPicPr>
                  <a:picLocks noChangeAspect="1"/>
                </p:cNvPicPr>
                <p:nvPr/>
              </p:nvPicPr>
              <p:blipFill>
                <a:blip r:embed="rId3"/>
                <a:stretch>
                  <a:fillRect/>
                </a:stretch>
              </p:blipFill>
              <p:spPr>
                <a:xfrm>
                  <a:off x="5083347" y="422997"/>
                  <a:ext cx="360000" cy="360000"/>
                </a:xfrm>
                <a:prstGeom prst="rect">
                  <a:avLst/>
                </a:prstGeom>
              </p:spPr>
            </p:pic>
            <p:pic>
              <p:nvPicPr>
                <p:cNvPr id="375" name="Picture 374">
                  <a:extLst>
                    <a:ext uri="{FF2B5EF4-FFF2-40B4-BE49-F238E27FC236}">
                      <a16:creationId xmlns:a16="http://schemas.microsoft.com/office/drawing/2014/main" id="{8AC5503D-C816-529F-FAD0-6CF3B9D2CE4F}"/>
                    </a:ext>
                  </a:extLst>
                </p:cNvPr>
                <p:cNvPicPr>
                  <a:picLocks noChangeAspect="1"/>
                </p:cNvPicPr>
                <p:nvPr/>
              </p:nvPicPr>
              <p:blipFill>
                <a:blip r:embed="rId4"/>
                <a:stretch>
                  <a:fillRect/>
                </a:stretch>
              </p:blipFill>
              <p:spPr>
                <a:xfrm>
                  <a:off x="5915494" y="422997"/>
                  <a:ext cx="360000" cy="360000"/>
                </a:xfrm>
                <a:prstGeom prst="rect">
                  <a:avLst/>
                </a:prstGeom>
              </p:spPr>
            </p:pic>
            <p:pic>
              <p:nvPicPr>
                <p:cNvPr id="376" name="Picture 375">
                  <a:extLst>
                    <a:ext uri="{FF2B5EF4-FFF2-40B4-BE49-F238E27FC236}">
                      <a16:creationId xmlns:a16="http://schemas.microsoft.com/office/drawing/2014/main" id="{8257E657-3F1F-EB9C-44F0-2A44988B1152}"/>
                    </a:ext>
                  </a:extLst>
                </p:cNvPr>
                <p:cNvPicPr>
                  <a:picLocks noChangeAspect="1"/>
                </p:cNvPicPr>
                <p:nvPr/>
              </p:nvPicPr>
              <p:blipFill>
                <a:blip r:embed="rId3"/>
                <a:stretch>
                  <a:fillRect/>
                </a:stretch>
              </p:blipFill>
              <p:spPr>
                <a:xfrm>
                  <a:off x="5499420" y="422997"/>
                  <a:ext cx="360000" cy="360000"/>
                </a:xfrm>
                <a:prstGeom prst="rect">
                  <a:avLst/>
                </a:prstGeom>
              </p:spPr>
            </p:pic>
          </p:grpSp>
        </p:grpSp>
        <p:grpSp>
          <p:nvGrpSpPr>
            <p:cNvPr id="404" name="Group 403">
              <a:extLst>
                <a:ext uri="{FF2B5EF4-FFF2-40B4-BE49-F238E27FC236}">
                  <a16:creationId xmlns:a16="http://schemas.microsoft.com/office/drawing/2014/main" id="{C69D7C3F-8D4D-5299-BA74-B1051B1A76C0}"/>
                </a:ext>
              </a:extLst>
            </p:cNvPr>
            <p:cNvGrpSpPr/>
            <p:nvPr/>
          </p:nvGrpSpPr>
          <p:grpSpPr>
            <a:xfrm>
              <a:off x="4752722" y="2472256"/>
              <a:ext cx="1899444" cy="1244605"/>
              <a:chOff x="4663532" y="2956529"/>
              <a:chExt cx="1899444" cy="1244605"/>
            </a:xfrm>
          </p:grpSpPr>
          <p:pic>
            <p:nvPicPr>
              <p:cNvPr id="386" name="Picture 385">
                <a:extLst>
                  <a:ext uri="{FF2B5EF4-FFF2-40B4-BE49-F238E27FC236}">
                    <a16:creationId xmlns:a16="http://schemas.microsoft.com/office/drawing/2014/main" id="{E84C958D-FE23-5AE1-12A5-0D71DE812726}"/>
                  </a:ext>
                </a:extLst>
              </p:cNvPr>
              <p:cNvPicPr>
                <a:picLocks noChangeAspect="1"/>
              </p:cNvPicPr>
              <p:nvPr/>
            </p:nvPicPr>
            <p:blipFill>
              <a:blip r:embed="rId5"/>
              <a:stretch>
                <a:fillRect/>
              </a:stretch>
            </p:blipFill>
            <p:spPr>
              <a:xfrm>
                <a:off x="4663532" y="2989227"/>
                <a:ext cx="910028" cy="1204178"/>
              </a:xfrm>
              <a:prstGeom prst="rect">
                <a:avLst/>
              </a:prstGeom>
            </p:spPr>
          </p:pic>
          <p:grpSp>
            <p:nvGrpSpPr>
              <p:cNvPr id="403" name="Group 402">
                <a:extLst>
                  <a:ext uri="{FF2B5EF4-FFF2-40B4-BE49-F238E27FC236}">
                    <a16:creationId xmlns:a16="http://schemas.microsoft.com/office/drawing/2014/main" id="{4264E998-EED1-FBBE-8A6D-BD059F2D6F20}"/>
                  </a:ext>
                </a:extLst>
              </p:cNvPr>
              <p:cNvGrpSpPr/>
              <p:nvPr/>
            </p:nvGrpSpPr>
            <p:grpSpPr>
              <a:xfrm>
                <a:off x="5804706" y="2956529"/>
                <a:ext cx="758270" cy="1244605"/>
                <a:chOff x="6614159" y="3081198"/>
                <a:chExt cx="758270" cy="1244605"/>
              </a:xfrm>
            </p:grpSpPr>
            <p:pic>
              <p:nvPicPr>
                <p:cNvPr id="291" name="Picture 290">
                  <a:extLst>
                    <a:ext uri="{FF2B5EF4-FFF2-40B4-BE49-F238E27FC236}">
                      <a16:creationId xmlns:a16="http://schemas.microsoft.com/office/drawing/2014/main" id="{94B3AA24-45A6-96BF-03E9-BFC8A13537BD}"/>
                    </a:ext>
                  </a:extLst>
                </p:cNvPr>
                <p:cNvPicPr>
                  <a:picLocks noChangeAspect="1"/>
                </p:cNvPicPr>
                <p:nvPr/>
              </p:nvPicPr>
              <p:blipFill>
                <a:blip r:embed="rId6"/>
                <a:stretch>
                  <a:fillRect/>
                </a:stretch>
              </p:blipFill>
              <p:spPr>
                <a:xfrm>
                  <a:off x="6912282" y="3883564"/>
                  <a:ext cx="126843" cy="191990"/>
                </a:xfrm>
                <a:prstGeom prst="rect">
                  <a:avLst/>
                </a:prstGeom>
              </p:spPr>
            </p:pic>
            <p:sp>
              <p:nvSpPr>
                <p:cNvPr id="334" name="Rounded Rectangle 333">
                  <a:extLst>
                    <a:ext uri="{FF2B5EF4-FFF2-40B4-BE49-F238E27FC236}">
                      <a16:creationId xmlns:a16="http://schemas.microsoft.com/office/drawing/2014/main" id="{5BC5B501-B191-F49F-5BF1-7F6DD5ADE0B0}"/>
                    </a:ext>
                  </a:extLst>
                </p:cNvPr>
                <p:cNvSpPr/>
                <p:nvPr/>
              </p:nvSpPr>
              <p:spPr>
                <a:xfrm>
                  <a:off x="6669403" y="3120270"/>
                  <a:ext cx="636652" cy="1205533"/>
                </a:xfrm>
                <a:prstGeom prst="roundRect">
                  <a:avLst>
                    <a:gd name="adj" fmla="val 2994"/>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5" name="Rounded Rectangle 334">
                  <a:extLst>
                    <a:ext uri="{FF2B5EF4-FFF2-40B4-BE49-F238E27FC236}">
                      <a16:creationId xmlns:a16="http://schemas.microsoft.com/office/drawing/2014/main" id="{65272B0B-F684-714C-D8B7-0D3F15928646}"/>
                    </a:ext>
                  </a:extLst>
                </p:cNvPr>
                <p:cNvSpPr/>
                <p:nvPr/>
              </p:nvSpPr>
              <p:spPr>
                <a:xfrm>
                  <a:off x="6704903" y="3228095"/>
                  <a:ext cx="176402" cy="132427"/>
                </a:xfrm>
                <a:prstGeom prst="roundRect">
                  <a:avLst>
                    <a:gd name="adj" fmla="val 6010"/>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33" b="1"/>
                    <a:t>7</a:t>
                  </a:r>
                  <a:endParaRPr lang="en-US" sz="1600" b="1"/>
                </a:p>
              </p:txBody>
            </p:sp>
            <p:sp>
              <p:nvSpPr>
                <p:cNvPr id="336" name="TextBox 335">
                  <a:extLst>
                    <a:ext uri="{FF2B5EF4-FFF2-40B4-BE49-F238E27FC236}">
                      <a16:creationId xmlns:a16="http://schemas.microsoft.com/office/drawing/2014/main" id="{AE0E62C0-3161-A438-DB10-55779261F5C1}"/>
                    </a:ext>
                  </a:extLst>
                </p:cNvPr>
                <p:cNvSpPr txBox="1"/>
                <p:nvPr/>
              </p:nvSpPr>
              <p:spPr>
                <a:xfrm>
                  <a:off x="6614159" y="3332298"/>
                  <a:ext cx="359713" cy="130757"/>
                </a:xfrm>
                <a:prstGeom prst="rect">
                  <a:avLst/>
                </a:prstGeom>
                <a:noFill/>
              </p:spPr>
              <p:txBody>
                <a:bodyPr wrap="none" rtlCol="0">
                  <a:spAutoFit/>
                </a:bodyPr>
                <a:lstStyle/>
                <a:p>
                  <a:r>
                    <a:rPr lang="en-US" sz="533">
                      <a:solidFill>
                        <a:schemeClr val="bg1"/>
                      </a:solidFill>
                    </a:rPr>
                    <a:t>Rule Set 1</a:t>
                  </a:r>
                  <a:endParaRPr lang="en-US" sz="800">
                    <a:solidFill>
                      <a:schemeClr val="bg1"/>
                    </a:solidFill>
                  </a:endParaRPr>
                </a:p>
              </p:txBody>
            </p:sp>
            <p:sp>
              <p:nvSpPr>
                <p:cNvPr id="338" name="Rounded Rectangle 337">
                  <a:extLst>
                    <a:ext uri="{FF2B5EF4-FFF2-40B4-BE49-F238E27FC236}">
                      <a16:creationId xmlns:a16="http://schemas.microsoft.com/office/drawing/2014/main" id="{7429170E-CA6C-1288-6709-35644DF13417}"/>
                    </a:ext>
                  </a:extLst>
                </p:cNvPr>
                <p:cNvSpPr/>
                <p:nvPr/>
              </p:nvSpPr>
              <p:spPr>
                <a:xfrm>
                  <a:off x="6704903" y="3455480"/>
                  <a:ext cx="141478" cy="56207"/>
                </a:xfrm>
                <a:prstGeom prst="roundRect">
                  <a:avLst>
                    <a:gd name="adj" fmla="val 18306"/>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339" name="Rounded Rectangle 338">
                  <a:extLst>
                    <a:ext uri="{FF2B5EF4-FFF2-40B4-BE49-F238E27FC236}">
                      <a16:creationId xmlns:a16="http://schemas.microsoft.com/office/drawing/2014/main" id="{9D19A23E-62DB-B68A-070D-CB4DDC724E4C}"/>
                    </a:ext>
                  </a:extLst>
                </p:cNvPr>
                <p:cNvSpPr/>
                <p:nvPr/>
              </p:nvSpPr>
              <p:spPr>
                <a:xfrm>
                  <a:off x="6704903" y="3529849"/>
                  <a:ext cx="141478" cy="56207"/>
                </a:xfrm>
                <a:prstGeom prst="roundRect">
                  <a:avLst>
                    <a:gd name="adj" fmla="val 18306"/>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340" name="Rounded Rectangle 339">
                  <a:extLst>
                    <a:ext uri="{FF2B5EF4-FFF2-40B4-BE49-F238E27FC236}">
                      <a16:creationId xmlns:a16="http://schemas.microsoft.com/office/drawing/2014/main" id="{BCCFFD03-0C53-B8F8-C191-FFBB1EAE929E}"/>
                    </a:ext>
                  </a:extLst>
                </p:cNvPr>
                <p:cNvSpPr/>
                <p:nvPr/>
              </p:nvSpPr>
              <p:spPr>
                <a:xfrm>
                  <a:off x="6704903" y="3604219"/>
                  <a:ext cx="141478" cy="56207"/>
                </a:xfrm>
                <a:prstGeom prst="roundRect">
                  <a:avLst>
                    <a:gd name="adj" fmla="val 18306"/>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344" name="Rounded Rectangle 343">
                  <a:extLst>
                    <a:ext uri="{FF2B5EF4-FFF2-40B4-BE49-F238E27FC236}">
                      <a16:creationId xmlns:a16="http://schemas.microsoft.com/office/drawing/2014/main" id="{AD524DDC-ECB4-48DB-3A9C-FB0EEA993794}"/>
                    </a:ext>
                  </a:extLst>
                </p:cNvPr>
                <p:cNvSpPr/>
                <p:nvPr/>
              </p:nvSpPr>
              <p:spPr>
                <a:xfrm>
                  <a:off x="6704903" y="3756100"/>
                  <a:ext cx="141478" cy="56207"/>
                </a:xfrm>
                <a:prstGeom prst="roundRect">
                  <a:avLst>
                    <a:gd name="adj" fmla="val 18306"/>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345" name="Rounded Rectangle 344">
                  <a:extLst>
                    <a:ext uri="{FF2B5EF4-FFF2-40B4-BE49-F238E27FC236}">
                      <a16:creationId xmlns:a16="http://schemas.microsoft.com/office/drawing/2014/main" id="{93882D16-2D0F-BE87-140A-A50819178773}"/>
                    </a:ext>
                  </a:extLst>
                </p:cNvPr>
                <p:cNvSpPr/>
                <p:nvPr/>
              </p:nvSpPr>
              <p:spPr>
                <a:xfrm>
                  <a:off x="6704903" y="3830470"/>
                  <a:ext cx="141478" cy="56207"/>
                </a:xfrm>
                <a:prstGeom prst="roundRect">
                  <a:avLst>
                    <a:gd name="adj" fmla="val 18306"/>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346" name="Rounded Rectangle 345">
                  <a:extLst>
                    <a:ext uri="{FF2B5EF4-FFF2-40B4-BE49-F238E27FC236}">
                      <a16:creationId xmlns:a16="http://schemas.microsoft.com/office/drawing/2014/main" id="{06673B42-3C4D-4FDE-DA46-4B5A22F0377C}"/>
                    </a:ext>
                  </a:extLst>
                </p:cNvPr>
                <p:cNvSpPr/>
                <p:nvPr/>
              </p:nvSpPr>
              <p:spPr>
                <a:xfrm>
                  <a:off x="6704903" y="3904839"/>
                  <a:ext cx="141478" cy="56207"/>
                </a:xfrm>
                <a:prstGeom prst="roundRect">
                  <a:avLst>
                    <a:gd name="adj" fmla="val 18306"/>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351" name="Rounded Rectangle 350">
                  <a:extLst>
                    <a:ext uri="{FF2B5EF4-FFF2-40B4-BE49-F238E27FC236}">
                      <a16:creationId xmlns:a16="http://schemas.microsoft.com/office/drawing/2014/main" id="{7C6DC36B-D42A-1830-B04F-52087EA8045D}"/>
                    </a:ext>
                  </a:extLst>
                </p:cNvPr>
                <p:cNvSpPr/>
                <p:nvPr/>
              </p:nvSpPr>
              <p:spPr>
                <a:xfrm>
                  <a:off x="6704903" y="4056721"/>
                  <a:ext cx="141478" cy="56207"/>
                </a:xfrm>
                <a:prstGeom prst="roundRect">
                  <a:avLst>
                    <a:gd name="adj" fmla="val 18306"/>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352" name="Rounded Rectangle 351">
                  <a:extLst>
                    <a:ext uri="{FF2B5EF4-FFF2-40B4-BE49-F238E27FC236}">
                      <a16:creationId xmlns:a16="http://schemas.microsoft.com/office/drawing/2014/main" id="{5788B0D8-05AF-2181-AA6D-8C3758DF23EE}"/>
                    </a:ext>
                  </a:extLst>
                </p:cNvPr>
                <p:cNvSpPr/>
                <p:nvPr/>
              </p:nvSpPr>
              <p:spPr>
                <a:xfrm>
                  <a:off x="6704903" y="4131090"/>
                  <a:ext cx="141478" cy="56207"/>
                </a:xfrm>
                <a:prstGeom prst="roundRect">
                  <a:avLst>
                    <a:gd name="adj" fmla="val 18306"/>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353" name="Rounded Rectangle 352">
                  <a:extLst>
                    <a:ext uri="{FF2B5EF4-FFF2-40B4-BE49-F238E27FC236}">
                      <a16:creationId xmlns:a16="http://schemas.microsoft.com/office/drawing/2014/main" id="{EDC3EB96-66B8-B15F-7AEE-B1BA9C3223AC}"/>
                    </a:ext>
                  </a:extLst>
                </p:cNvPr>
                <p:cNvSpPr/>
                <p:nvPr/>
              </p:nvSpPr>
              <p:spPr>
                <a:xfrm>
                  <a:off x="6704903" y="4205460"/>
                  <a:ext cx="141478" cy="56207"/>
                </a:xfrm>
                <a:prstGeom prst="roundRect">
                  <a:avLst>
                    <a:gd name="adj" fmla="val 18306"/>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357" name="Rounded Rectangle 356">
                  <a:extLst>
                    <a:ext uri="{FF2B5EF4-FFF2-40B4-BE49-F238E27FC236}">
                      <a16:creationId xmlns:a16="http://schemas.microsoft.com/office/drawing/2014/main" id="{6557D326-D32E-4D4C-86ED-33E30C670B90}"/>
                    </a:ext>
                  </a:extLst>
                </p:cNvPr>
                <p:cNvSpPr/>
                <p:nvPr/>
              </p:nvSpPr>
              <p:spPr>
                <a:xfrm>
                  <a:off x="7098378" y="3228095"/>
                  <a:ext cx="176402" cy="132427"/>
                </a:xfrm>
                <a:prstGeom prst="roundRect">
                  <a:avLst>
                    <a:gd name="adj" fmla="val 6010"/>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33" b="1"/>
                    <a:t>9</a:t>
                  </a:r>
                  <a:endParaRPr lang="en-US" sz="800" b="1"/>
                </a:p>
              </p:txBody>
            </p:sp>
            <p:grpSp>
              <p:nvGrpSpPr>
                <p:cNvPr id="358" name="Group 357">
                  <a:extLst>
                    <a:ext uri="{FF2B5EF4-FFF2-40B4-BE49-F238E27FC236}">
                      <a16:creationId xmlns:a16="http://schemas.microsoft.com/office/drawing/2014/main" id="{9F66FDC4-E0BB-9208-B12D-DCD1B7EE5C71}"/>
                    </a:ext>
                  </a:extLst>
                </p:cNvPr>
                <p:cNvGrpSpPr/>
                <p:nvPr/>
              </p:nvGrpSpPr>
              <p:grpSpPr>
                <a:xfrm>
                  <a:off x="6620479" y="3081198"/>
                  <a:ext cx="685285" cy="130757"/>
                  <a:chOff x="4799446" y="1418875"/>
                  <a:chExt cx="1944952" cy="281596"/>
                </a:xfrm>
              </p:grpSpPr>
              <p:grpSp>
                <p:nvGrpSpPr>
                  <p:cNvPr id="359" name="Group 358">
                    <a:extLst>
                      <a:ext uri="{FF2B5EF4-FFF2-40B4-BE49-F238E27FC236}">
                        <a16:creationId xmlns:a16="http://schemas.microsoft.com/office/drawing/2014/main" id="{64B6885A-C6C1-0646-9962-73716F8E1D79}"/>
                      </a:ext>
                    </a:extLst>
                  </p:cNvPr>
                  <p:cNvGrpSpPr/>
                  <p:nvPr/>
                </p:nvGrpSpPr>
                <p:grpSpPr>
                  <a:xfrm>
                    <a:off x="4937475" y="1502591"/>
                    <a:ext cx="1806923" cy="165100"/>
                    <a:chOff x="4937475" y="1502591"/>
                    <a:chExt cx="1806923" cy="165100"/>
                  </a:xfrm>
                </p:grpSpPr>
                <p:sp>
                  <p:nvSpPr>
                    <p:cNvPr id="362" name="Rounded Rectangle 361">
                      <a:extLst>
                        <a:ext uri="{FF2B5EF4-FFF2-40B4-BE49-F238E27FC236}">
                          <a16:creationId xmlns:a16="http://schemas.microsoft.com/office/drawing/2014/main" id="{3D1C0DFC-9719-9429-C494-E7B9019EFA1E}"/>
                        </a:ext>
                      </a:extLst>
                    </p:cNvPr>
                    <p:cNvSpPr/>
                    <p:nvPr/>
                  </p:nvSpPr>
                  <p:spPr>
                    <a:xfrm>
                      <a:off x="4937475" y="1502591"/>
                      <a:ext cx="1806923" cy="163981"/>
                    </a:xfrm>
                    <a:prstGeom prst="roundRect">
                      <a:avLst>
                        <a:gd name="adj" fmla="val 26766"/>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3" name="Rounded Rectangle 362">
                      <a:extLst>
                        <a:ext uri="{FF2B5EF4-FFF2-40B4-BE49-F238E27FC236}">
                          <a16:creationId xmlns:a16="http://schemas.microsoft.com/office/drawing/2014/main" id="{AEA0B282-F0FA-8FA2-6135-FAAE6B3C60C8}"/>
                        </a:ext>
                      </a:extLst>
                    </p:cNvPr>
                    <p:cNvSpPr/>
                    <p:nvPr/>
                  </p:nvSpPr>
                  <p:spPr>
                    <a:xfrm flipV="1">
                      <a:off x="4937475" y="1621972"/>
                      <a:ext cx="1806923" cy="45719"/>
                    </a:xfrm>
                    <a:prstGeom prst="roundRect">
                      <a:avLst>
                        <a:gd name="adj" fmla="val 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60" name="TextBox 359">
                    <a:extLst>
                      <a:ext uri="{FF2B5EF4-FFF2-40B4-BE49-F238E27FC236}">
                        <a16:creationId xmlns:a16="http://schemas.microsoft.com/office/drawing/2014/main" id="{E1546F70-1707-18C6-14E6-7F08C83A0EA1}"/>
                      </a:ext>
                    </a:extLst>
                  </p:cNvPr>
                  <p:cNvSpPr txBox="1"/>
                  <p:nvPr/>
                </p:nvSpPr>
                <p:spPr>
                  <a:xfrm>
                    <a:off x="4799446" y="1418875"/>
                    <a:ext cx="1431413" cy="281596"/>
                  </a:xfrm>
                  <a:prstGeom prst="rect">
                    <a:avLst/>
                  </a:prstGeom>
                  <a:noFill/>
                </p:spPr>
                <p:txBody>
                  <a:bodyPr wrap="square" rtlCol="0">
                    <a:spAutoFit/>
                  </a:bodyPr>
                  <a:lstStyle/>
                  <a:p>
                    <a:r>
                      <a:rPr lang="en-US" sz="533">
                        <a:solidFill>
                          <a:schemeClr val="bg1"/>
                        </a:solidFill>
                      </a:rPr>
                      <a:t>Quality Check</a:t>
                    </a:r>
                  </a:p>
                </p:txBody>
              </p:sp>
              <p:pic>
                <p:nvPicPr>
                  <p:cNvPr id="361" name="Picture 360">
                    <a:extLst>
                      <a:ext uri="{FF2B5EF4-FFF2-40B4-BE49-F238E27FC236}">
                        <a16:creationId xmlns:a16="http://schemas.microsoft.com/office/drawing/2014/main" id="{CA170A97-8698-3EA3-EE60-6EE588B5DD88}"/>
                      </a:ext>
                    </a:extLst>
                  </p:cNvPr>
                  <p:cNvPicPr>
                    <a:picLocks noChangeAspect="1"/>
                  </p:cNvPicPr>
                  <p:nvPr/>
                </p:nvPicPr>
                <p:blipFill>
                  <a:blip r:embed="rId7"/>
                  <a:stretch>
                    <a:fillRect/>
                  </a:stretch>
                </p:blipFill>
                <p:spPr>
                  <a:xfrm>
                    <a:off x="6542847" y="1532852"/>
                    <a:ext cx="108000" cy="108000"/>
                  </a:xfrm>
                  <a:prstGeom prst="rect">
                    <a:avLst/>
                  </a:prstGeom>
                </p:spPr>
              </p:pic>
            </p:grpSp>
            <p:sp>
              <p:nvSpPr>
                <p:cNvPr id="365" name="Rounded Rectangle 364">
                  <a:extLst>
                    <a:ext uri="{FF2B5EF4-FFF2-40B4-BE49-F238E27FC236}">
                      <a16:creationId xmlns:a16="http://schemas.microsoft.com/office/drawing/2014/main" id="{09172FE2-7702-1BD6-A7FD-0240429B7880}"/>
                    </a:ext>
                  </a:extLst>
                </p:cNvPr>
                <p:cNvSpPr/>
                <p:nvPr/>
              </p:nvSpPr>
              <p:spPr>
                <a:xfrm>
                  <a:off x="6898794" y="3228095"/>
                  <a:ext cx="176402" cy="132427"/>
                </a:xfrm>
                <a:prstGeom prst="roundRect">
                  <a:avLst>
                    <a:gd name="adj" fmla="val 6010"/>
                  </a:avLst>
                </a:prstGeom>
                <a:solidFill>
                  <a:srgbClr val="FF0000"/>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33" b="1"/>
                    <a:t>2</a:t>
                  </a:r>
                </a:p>
              </p:txBody>
            </p:sp>
            <p:grpSp>
              <p:nvGrpSpPr>
                <p:cNvPr id="394" name="Group 393">
                  <a:extLst>
                    <a:ext uri="{FF2B5EF4-FFF2-40B4-BE49-F238E27FC236}">
                      <a16:creationId xmlns:a16="http://schemas.microsoft.com/office/drawing/2014/main" id="{7D59E6A1-C802-9002-043E-783023F15F0E}"/>
                    </a:ext>
                  </a:extLst>
                </p:cNvPr>
                <p:cNvGrpSpPr/>
                <p:nvPr/>
              </p:nvGrpSpPr>
              <p:grpSpPr>
                <a:xfrm>
                  <a:off x="6776195" y="3462787"/>
                  <a:ext cx="596234" cy="192303"/>
                  <a:chOff x="6776195" y="3462787"/>
                  <a:chExt cx="596234" cy="192303"/>
                </a:xfrm>
              </p:grpSpPr>
              <p:sp>
                <p:nvSpPr>
                  <p:cNvPr id="341" name="Rounded Rectangle 340">
                    <a:extLst>
                      <a:ext uri="{FF2B5EF4-FFF2-40B4-BE49-F238E27FC236}">
                        <a16:creationId xmlns:a16="http://schemas.microsoft.com/office/drawing/2014/main" id="{0E064DCA-19B0-4B96-2B12-F1429D673DAD}"/>
                      </a:ext>
                    </a:extLst>
                  </p:cNvPr>
                  <p:cNvSpPr/>
                  <p:nvPr/>
                </p:nvSpPr>
                <p:spPr>
                  <a:xfrm>
                    <a:off x="6776195" y="3462787"/>
                    <a:ext cx="596234" cy="45719"/>
                  </a:xfrm>
                  <a:prstGeom prst="roundRect">
                    <a:avLst>
                      <a:gd name="adj" fmla="val 1830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tabLst>
                        <a:tab pos="1060424" algn="l"/>
                      </a:tabLst>
                    </a:pPr>
                    <a:r>
                      <a:rPr lang="en-US" sz="667">
                        <a:solidFill>
                          <a:schemeClr val="bg1"/>
                        </a:solidFill>
                      </a:rPr>
                      <a:t>……………….</a:t>
                    </a:r>
                    <a:endParaRPr lang="en-US" sz="1600" b="1">
                      <a:solidFill>
                        <a:schemeClr val="bg1"/>
                      </a:solidFill>
                    </a:endParaRPr>
                  </a:p>
                </p:txBody>
              </p:sp>
              <p:sp>
                <p:nvSpPr>
                  <p:cNvPr id="390" name="Rounded Rectangle 389">
                    <a:extLst>
                      <a:ext uri="{FF2B5EF4-FFF2-40B4-BE49-F238E27FC236}">
                        <a16:creationId xmlns:a16="http://schemas.microsoft.com/office/drawing/2014/main" id="{C69A6F35-F2BF-16CC-6D97-44CABD5C7636}"/>
                      </a:ext>
                    </a:extLst>
                  </p:cNvPr>
                  <p:cNvSpPr/>
                  <p:nvPr/>
                </p:nvSpPr>
                <p:spPr>
                  <a:xfrm>
                    <a:off x="6776195" y="3536079"/>
                    <a:ext cx="596234" cy="45719"/>
                  </a:xfrm>
                  <a:prstGeom prst="roundRect">
                    <a:avLst>
                      <a:gd name="adj" fmla="val 1830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tabLst>
                        <a:tab pos="1060424" algn="l"/>
                      </a:tabLst>
                    </a:pPr>
                    <a:r>
                      <a:rPr lang="en-US" sz="667">
                        <a:solidFill>
                          <a:schemeClr val="bg1"/>
                        </a:solidFill>
                      </a:rPr>
                      <a:t>……………….</a:t>
                    </a:r>
                    <a:endParaRPr lang="en-US" sz="1600" b="1">
                      <a:solidFill>
                        <a:schemeClr val="bg1"/>
                      </a:solidFill>
                    </a:endParaRPr>
                  </a:p>
                </p:txBody>
              </p:sp>
              <p:sp>
                <p:nvSpPr>
                  <p:cNvPr id="391" name="Rounded Rectangle 390">
                    <a:extLst>
                      <a:ext uri="{FF2B5EF4-FFF2-40B4-BE49-F238E27FC236}">
                        <a16:creationId xmlns:a16="http://schemas.microsoft.com/office/drawing/2014/main" id="{65D5EBFE-67B2-F8AD-C7F9-2EC3A989527E}"/>
                      </a:ext>
                    </a:extLst>
                  </p:cNvPr>
                  <p:cNvSpPr/>
                  <p:nvPr/>
                </p:nvSpPr>
                <p:spPr>
                  <a:xfrm>
                    <a:off x="6776195" y="3609371"/>
                    <a:ext cx="596234" cy="45719"/>
                  </a:xfrm>
                  <a:prstGeom prst="roundRect">
                    <a:avLst>
                      <a:gd name="adj" fmla="val 1830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tabLst>
                        <a:tab pos="1060424" algn="l"/>
                      </a:tabLst>
                    </a:pPr>
                    <a:r>
                      <a:rPr lang="en-US" sz="667">
                        <a:solidFill>
                          <a:schemeClr val="bg1"/>
                        </a:solidFill>
                      </a:rPr>
                      <a:t>……………….</a:t>
                    </a:r>
                    <a:endParaRPr lang="en-US" sz="1600" b="1">
                      <a:solidFill>
                        <a:schemeClr val="bg1"/>
                      </a:solidFill>
                    </a:endParaRPr>
                  </a:p>
                </p:txBody>
              </p:sp>
            </p:grpSp>
            <p:sp>
              <p:nvSpPr>
                <p:cNvPr id="392" name="TextBox 391">
                  <a:extLst>
                    <a:ext uri="{FF2B5EF4-FFF2-40B4-BE49-F238E27FC236}">
                      <a16:creationId xmlns:a16="http://schemas.microsoft.com/office/drawing/2014/main" id="{5769FE92-6ED6-E78C-FA96-D3F1123789DC}"/>
                    </a:ext>
                  </a:extLst>
                </p:cNvPr>
                <p:cNvSpPr txBox="1"/>
                <p:nvPr/>
              </p:nvSpPr>
              <p:spPr>
                <a:xfrm>
                  <a:off x="6614159" y="3633923"/>
                  <a:ext cx="359713" cy="130757"/>
                </a:xfrm>
                <a:prstGeom prst="rect">
                  <a:avLst/>
                </a:prstGeom>
                <a:noFill/>
              </p:spPr>
              <p:txBody>
                <a:bodyPr wrap="none" rtlCol="0">
                  <a:spAutoFit/>
                </a:bodyPr>
                <a:lstStyle/>
                <a:p>
                  <a:r>
                    <a:rPr lang="en-US" sz="533">
                      <a:solidFill>
                        <a:schemeClr val="bg1"/>
                      </a:solidFill>
                    </a:rPr>
                    <a:t>Rule Set 2</a:t>
                  </a:r>
                  <a:endParaRPr lang="en-US" sz="800">
                    <a:solidFill>
                      <a:schemeClr val="bg1"/>
                    </a:solidFill>
                  </a:endParaRPr>
                </a:p>
              </p:txBody>
            </p:sp>
            <p:sp>
              <p:nvSpPr>
                <p:cNvPr id="393" name="TextBox 392">
                  <a:extLst>
                    <a:ext uri="{FF2B5EF4-FFF2-40B4-BE49-F238E27FC236}">
                      <a16:creationId xmlns:a16="http://schemas.microsoft.com/office/drawing/2014/main" id="{EF1E097C-DC24-1240-1E8A-212B68869B12}"/>
                    </a:ext>
                  </a:extLst>
                </p:cNvPr>
                <p:cNvSpPr txBox="1"/>
                <p:nvPr/>
              </p:nvSpPr>
              <p:spPr>
                <a:xfrm>
                  <a:off x="6614159" y="3929198"/>
                  <a:ext cx="359713" cy="130757"/>
                </a:xfrm>
                <a:prstGeom prst="rect">
                  <a:avLst/>
                </a:prstGeom>
                <a:noFill/>
              </p:spPr>
              <p:txBody>
                <a:bodyPr wrap="none" rtlCol="0">
                  <a:spAutoFit/>
                </a:bodyPr>
                <a:lstStyle/>
                <a:p>
                  <a:r>
                    <a:rPr lang="en-US" sz="533">
                      <a:solidFill>
                        <a:schemeClr val="bg1"/>
                      </a:solidFill>
                    </a:rPr>
                    <a:t>Rule Set 3</a:t>
                  </a:r>
                  <a:endParaRPr lang="en-US" sz="800">
                    <a:solidFill>
                      <a:schemeClr val="bg1"/>
                    </a:solidFill>
                  </a:endParaRPr>
                </a:p>
              </p:txBody>
            </p:sp>
            <p:grpSp>
              <p:nvGrpSpPr>
                <p:cNvPr id="395" name="Group 394">
                  <a:extLst>
                    <a:ext uri="{FF2B5EF4-FFF2-40B4-BE49-F238E27FC236}">
                      <a16:creationId xmlns:a16="http://schemas.microsoft.com/office/drawing/2014/main" id="{74102762-29F3-6BE5-D4A7-7C377D2F3E6C}"/>
                    </a:ext>
                  </a:extLst>
                </p:cNvPr>
                <p:cNvGrpSpPr/>
                <p:nvPr/>
              </p:nvGrpSpPr>
              <p:grpSpPr>
                <a:xfrm>
                  <a:off x="6776195" y="3764412"/>
                  <a:ext cx="596234" cy="192303"/>
                  <a:chOff x="6776195" y="3462787"/>
                  <a:chExt cx="596234" cy="192303"/>
                </a:xfrm>
              </p:grpSpPr>
              <p:sp>
                <p:nvSpPr>
                  <p:cNvPr id="396" name="Rounded Rectangle 395">
                    <a:extLst>
                      <a:ext uri="{FF2B5EF4-FFF2-40B4-BE49-F238E27FC236}">
                        <a16:creationId xmlns:a16="http://schemas.microsoft.com/office/drawing/2014/main" id="{85905429-CB63-C457-EF57-349563C441D8}"/>
                      </a:ext>
                    </a:extLst>
                  </p:cNvPr>
                  <p:cNvSpPr/>
                  <p:nvPr/>
                </p:nvSpPr>
                <p:spPr>
                  <a:xfrm>
                    <a:off x="6776195" y="3462787"/>
                    <a:ext cx="596234" cy="45719"/>
                  </a:xfrm>
                  <a:prstGeom prst="roundRect">
                    <a:avLst>
                      <a:gd name="adj" fmla="val 1830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tabLst>
                        <a:tab pos="1060424" algn="l"/>
                      </a:tabLst>
                    </a:pPr>
                    <a:r>
                      <a:rPr lang="en-US" sz="667">
                        <a:solidFill>
                          <a:schemeClr val="bg1"/>
                        </a:solidFill>
                      </a:rPr>
                      <a:t>……………….</a:t>
                    </a:r>
                    <a:endParaRPr lang="en-US" sz="1600" b="1">
                      <a:solidFill>
                        <a:schemeClr val="bg1"/>
                      </a:solidFill>
                    </a:endParaRPr>
                  </a:p>
                </p:txBody>
              </p:sp>
              <p:sp>
                <p:nvSpPr>
                  <p:cNvPr id="397" name="Rounded Rectangle 396">
                    <a:extLst>
                      <a:ext uri="{FF2B5EF4-FFF2-40B4-BE49-F238E27FC236}">
                        <a16:creationId xmlns:a16="http://schemas.microsoft.com/office/drawing/2014/main" id="{98B2AD0E-D794-E08E-98D8-CA3BF5AE9854}"/>
                      </a:ext>
                    </a:extLst>
                  </p:cNvPr>
                  <p:cNvSpPr/>
                  <p:nvPr/>
                </p:nvSpPr>
                <p:spPr>
                  <a:xfrm>
                    <a:off x="6776195" y="3536079"/>
                    <a:ext cx="596234" cy="45719"/>
                  </a:xfrm>
                  <a:prstGeom prst="roundRect">
                    <a:avLst>
                      <a:gd name="adj" fmla="val 1830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tabLst>
                        <a:tab pos="1060424" algn="l"/>
                      </a:tabLst>
                    </a:pPr>
                    <a:r>
                      <a:rPr lang="en-US" sz="667">
                        <a:solidFill>
                          <a:schemeClr val="bg1"/>
                        </a:solidFill>
                      </a:rPr>
                      <a:t>……………….</a:t>
                    </a:r>
                    <a:endParaRPr lang="en-US" sz="1600" b="1">
                      <a:solidFill>
                        <a:schemeClr val="bg1"/>
                      </a:solidFill>
                    </a:endParaRPr>
                  </a:p>
                </p:txBody>
              </p:sp>
              <p:sp>
                <p:nvSpPr>
                  <p:cNvPr id="398" name="Rounded Rectangle 397">
                    <a:extLst>
                      <a:ext uri="{FF2B5EF4-FFF2-40B4-BE49-F238E27FC236}">
                        <a16:creationId xmlns:a16="http://schemas.microsoft.com/office/drawing/2014/main" id="{1A5E60CE-4B37-FCAD-4E04-D848D7B1E317}"/>
                      </a:ext>
                    </a:extLst>
                  </p:cNvPr>
                  <p:cNvSpPr/>
                  <p:nvPr/>
                </p:nvSpPr>
                <p:spPr>
                  <a:xfrm>
                    <a:off x="6776195" y="3609371"/>
                    <a:ext cx="596234" cy="45719"/>
                  </a:xfrm>
                  <a:prstGeom prst="roundRect">
                    <a:avLst>
                      <a:gd name="adj" fmla="val 1830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tabLst>
                        <a:tab pos="1060424" algn="l"/>
                      </a:tabLst>
                    </a:pPr>
                    <a:r>
                      <a:rPr lang="en-US" sz="667">
                        <a:solidFill>
                          <a:schemeClr val="bg1"/>
                        </a:solidFill>
                      </a:rPr>
                      <a:t>……………….</a:t>
                    </a:r>
                    <a:endParaRPr lang="en-US" sz="1600" b="1">
                      <a:solidFill>
                        <a:schemeClr val="bg1"/>
                      </a:solidFill>
                    </a:endParaRPr>
                  </a:p>
                </p:txBody>
              </p:sp>
            </p:grpSp>
            <p:grpSp>
              <p:nvGrpSpPr>
                <p:cNvPr id="399" name="Group 398">
                  <a:extLst>
                    <a:ext uri="{FF2B5EF4-FFF2-40B4-BE49-F238E27FC236}">
                      <a16:creationId xmlns:a16="http://schemas.microsoft.com/office/drawing/2014/main" id="{22D9B948-9683-312A-3530-F8D7E72BD265}"/>
                    </a:ext>
                  </a:extLst>
                </p:cNvPr>
                <p:cNvGrpSpPr/>
                <p:nvPr/>
              </p:nvGrpSpPr>
              <p:grpSpPr>
                <a:xfrm>
                  <a:off x="6776195" y="4066037"/>
                  <a:ext cx="596234" cy="192303"/>
                  <a:chOff x="6776195" y="3462787"/>
                  <a:chExt cx="596234" cy="192303"/>
                </a:xfrm>
              </p:grpSpPr>
              <p:sp>
                <p:nvSpPr>
                  <p:cNvPr id="400" name="Rounded Rectangle 399">
                    <a:extLst>
                      <a:ext uri="{FF2B5EF4-FFF2-40B4-BE49-F238E27FC236}">
                        <a16:creationId xmlns:a16="http://schemas.microsoft.com/office/drawing/2014/main" id="{AA8699F6-7176-9B86-B996-56D31AD120B5}"/>
                      </a:ext>
                    </a:extLst>
                  </p:cNvPr>
                  <p:cNvSpPr/>
                  <p:nvPr/>
                </p:nvSpPr>
                <p:spPr>
                  <a:xfrm>
                    <a:off x="6776195" y="3462787"/>
                    <a:ext cx="596234" cy="45719"/>
                  </a:xfrm>
                  <a:prstGeom prst="roundRect">
                    <a:avLst>
                      <a:gd name="adj" fmla="val 1830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tabLst>
                        <a:tab pos="1060424" algn="l"/>
                      </a:tabLst>
                    </a:pPr>
                    <a:r>
                      <a:rPr lang="en-US" sz="667">
                        <a:solidFill>
                          <a:schemeClr val="bg1"/>
                        </a:solidFill>
                      </a:rPr>
                      <a:t>……………….</a:t>
                    </a:r>
                    <a:endParaRPr lang="en-US" sz="1600" b="1">
                      <a:solidFill>
                        <a:schemeClr val="bg1"/>
                      </a:solidFill>
                    </a:endParaRPr>
                  </a:p>
                </p:txBody>
              </p:sp>
              <p:sp>
                <p:nvSpPr>
                  <p:cNvPr id="401" name="Rounded Rectangle 400">
                    <a:extLst>
                      <a:ext uri="{FF2B5EF4-FFF2-40B4-BE49-F238E27FC236}">
                        <a16:creationId xmlns:a16="http://schemas.microsoft.com/office/drawing/2014/main" id="{2A81FE99-7410-28C7-E012-23AE992B230F}"/>
                      </a:ext>
                    </a:extLst>
                  </p:cNvPr>
                  <p:cNvSpPr/>
                  <p:nvPr/>
                </p:nvSpPr>
                <p:spPr>
                  <a:xfrm>
                    <a:off x="6776195" y="3536079"/>
                    <a:ext cx="596234" cy="45719"/>
                  </a:xfrm>
                  <a:prstGeom prst="roundRect">
                    <a:avLst>
                      <a:gd name="adj" fmla="val 1830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tabLst>
                        <a:tab pos="1060424" algn="l"/>
                      </a:tabLst>
                    </a:pPr>
                    <a:r>
                      <a:rPr lang="en-US" sz="667">
                        <a:solidFill>
                          <a:schemeClr val="bg1"/>
                        </a:solidFill>
                      </a:rPr>
                      <a:t>……………….</a:t>
                    </a:r>
                    <a:endParaRPr lang="en-US" sz="1600" b="1">
                      <a:solidFill>
                        <a:schemeClr val="bg1"/>
                      </a:solidFill>
                    </a:endParaRPr>
                  </a:p>
                </p:txBody>
              </p:sp>
              <p:sp>
                <p:nvSpPr>
                  <p:cNvPr id="402" name="Rounded Rectangle 401">
                    <a:extLst>
                      <a:ext uri="{FF2B5EF4-FFF2-40B4-BE49-F238E27FC236}">
                        <a16:creationId xmlns:a16="http://schemas.microsoft.com/office/drawing/2014/main" id="{E4703BDE-D7C9-2DE3-9808-22A4A32AB6D4}"/>
                      </a:ext>
                    </a:extLst>
                  </p:cNvPr>
                  <p:cNvSpPr/>
                  <p:nvPr/>
                </p:nvSpPr>
                <p:spPr>
                  <a:xfrm>
                    <a:off x="6776195" y="3609371"/>
                    <a:ext cx="596234" cy="45719"/>
                  </a:xfrm>
                  <a:prstGeom prst="roundRect">
                    <a:avLst>
                      <a:gd name="adj" fmla="val 1830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tabLst>
                        <a:tab pos="1060424" algn="l"/>
                      </a:tabLst>
                    </a:pPr>
                    <a:r>
                      <a:rPr lang="en-US" sz="667">
                        <a:solidFill>
                          <a:schemeClr val="bg1"/>
                        </a:solidFill>
                      </a:rPr>
                      <a:t>……………….</a:t>
                    </a:r>
                    <a:endParaRPr lang="en-US" sz="1600" b="1">
                      <a:solidFill>
                        <a:schemeClr val="bg1"/>
                      </a:solidFill>
                    </a:endParaRPr>
                  </a:p>
                </p:txBody>
              </p:sp>
            </p:grpSp>
          </p:grpSp>
        </p:grpSp>
        <p:cxnSp>
          <p:nvCxnSpPr>
            <p:cNvPr id="450" name="Straight Connector 449">
              <a:extLst>
                <a:ext uri="{FF2B5EF4-FFF2-40B4-BE49-F238E27FC236}">
                  <a16:creationId xmlns:a16="http://schemas.microsoft.com/office/drawing/2014/main" id="{796D53BB-1FAE-284D-0CC8-5CEBD2D852EE}"/>
                </a:ext>
              </a:extLst>
            </p:cNvPr>
            <p:cNvCxnSpPr>
              <a:cxnSpLocks/>
              <a:endCxn id="353" idx="1"/>
            </p:cNvCxnSpPr>
            <p:nvPr/>
          </p:nvCxnSpPr>
          <p:spPr>
            <a:xfrm>
              <a:off x="5410221" y="3383009"/>
              <a:ext cx="574419" cy="241613"/>
            </a:xfrm>
            <a:prstGeom prst="line">
              <a:avLst/>
            </a:prstGeom>
            <a:ln w="6350">
              <a:solidFill>
                <a:srgbClr val="002A39"/>
              </a:solidFill>
              <a:prstDash val="sysDash"/>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C3D3DC83-7159-94E1-027F-92AB941F2446}"/>
                </a:ext>
              </a:extLst>
            </p:cNvPr>
            <p:cNvCxnSpPr>
              <a:cxnSpLocks/>
              <a:stCxn id="457" idx="3"/>
            </p:cNvCxnSpPr>
            <p:nvPr/>
          </p:nvCxnSpPr>
          <p:spPr>
            <a:xfrm>
              <a:off x="5207736" y="2837757"/>
              <a:ext cx="776754" cy="484505"/>
            </a:xfrm>
            <a:prstGeom prst="line">
              <a:avLst/>
            </a:prstGeom>
            <a:ln w="6350">
              <a:solidFill>
                <a:srgbClr val="002A39"/>
              </a:solidFill>
              <a:prstDash val="sysDash"/>
            </a:ln>
          </p:spPr>
          <p:style>
            <a:lnRef idx="1">
              <a:schemeClr val="accent1"/>
            </a:lnRef>
            <a:fillRef idx="0">
              <a:schemeClr val="accent1"/>
            </a:fillRef>
            <a:effectRef idx="0">
              <a:schemeClr val="accent1"/>
            </a:effectRef>
            <a:fontRef idx="minor">
              <a:schemeClr val="tx1"/>
            </a:fontRef>
          </p:style>
        </p:cxnSp>
        <p:sp>
          <p:nvSpPr>
            <p:cNvPr id="456" name="Rounded Rectangle 455">
              <a:extLst>
                <a:ext uri="{FF2B5EF4-FFF2-40B4-BE49-F238E27FC236}">
                  <a16:creationId xmlns:a16="http://schemas.microsoft.com/office/drawing/2014/main" id="{45195E05-8A1D-42A2-B72B-3570626E7845}"/>
                </a:ext>
              </a:extLst>
            </p:cNvPr>
            <p:cNvSpPr/>
            <p:nvPr/>
          </p:nvSpPr>
          <p:spPr>
            <a:xfrm>
              <a:off x="5277311" y="3351506"/>
              <a:ext cx="137423" cy="56163"/>
            </a:xfrm>
            <a:prstGeom prst="roundRect">
              <a:avLst/>
            </a:prstGeom>
            <a:solidFill>
              <a:srgbClr val="F9CA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7" name="Rounded Rectangle 456">
              <a:extLst>
                <a:ext uri="{FF2B5EF4-FFF2-40B4-BE49-F238E27FC236}">
                  <a16:creationId xmlns:a16="http://schemas.microsoft.com/office/drawing/2014/main" id="{23B16C0B-1F6B-3875-1566-0637E9404C3D}"/>
                </a:ext>
              </a:extLst>
            </p:cNvPr>
            <p:cNvSpPr/>
            <p:nvPr/>
          </p:nvSpPr>
          <p:spPr>
            <a:xfrm>
              <a:off x="5070313" y="2809675"/>
              <a:ext cx="137423" cy="56163"/>
            </a:xfrm>
            <a:prstGeom prst="roundRect">
              <a:avLst/>
            </a:prstGeom>
            <a:solidFill>
              <a:srgbClr val="F9CA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32" name="Rectangle 431">
            <a:extLst>
              <a:ext uri="{FF2B5EF4-FFF2-40B4-BE49-F238E27FC236}">
                <a16:creationId xmlns:a16="http://schemas.microsoft.com/office/drawing/2014/main" id="{2400E29C-5F8D-D621-46A0-53EC5ECAEEA2}"/>
              </a:ext>
            </a:extLst>
          </p:cNvPr>
          <p:cNvSpPr/>
          <p:nvPr/>
        </p:nvSpPr>
        <p:spPr>
          <a:xfrm>
            <a:off x="324656" y="6270026"/>
            <a:ext cx="1219200" cy="4984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428" name="Group 427">
            <a:extLst>
              <a:ext uri="{FF2B5EF4-FFF2-40B4-BE49-F238E27FC236}">
                <a16:creationId xmlns:a16="http://schemas.microsoft.com/office/drawing/2014/main" id="{7DEECBAE-0BB4-9F78-9669-FA3BAD65E721}"/>
              </a:ext>
            </a:extLst>
          </p:cNvPr>
          <p:cNvGrpSpPr/>
          <p:nvPr/>
        </p:nvGrpSpPr>
        <p:grpSpPr>
          <a:xfrm>
            <a:off x="1326211" y="1276136"/>
            <a:ext cx="4072907" cy="5303355"/>
            <a:chOff x="994658" y="957102"/>
            <a:chExt cx="3054680" cy="3977516"/>
          </a:xfrm>
        </p:grpSpPr>
        <p:sp>
          <p:nvSpPr>
            <p:cNvPr id="410" name="Rectangle 409">
              <a:extLst>
                <a:ext uri="{FF2B5EF4-FFF2-40B4-BE49-F238E27FC236}">
                  <a16:creationId xmlns:a16="http://schemas.microsoft.com/office/drawing/2014/main" id="{9DDA7AAD-AC88-5B95-4FA8-2F27B8E0C0D7}"/>
                </a:ext>
              </a:extLst>
            </p:cNvPr>
            <p:cNvSpPr/>
            <p:nvPr/>
          </p:nvSpPr>
          <p:spPr>
            <a:xfrm>
              <a:off x="994658" y="3031774"/>
              <a:ext cx="1714795" cy="153169"/>
            </a:xfrm>
            <a:prstGeom prst="rect">
              <a:avLst/>
            </a:prstGeom>
            <a:solidFill>
              <a:srgbClr val="D0D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425" name="Group 424">
              <a:extLst>
                <a:ext uri="{FF2B5EF4-FFF2-40B4-BE49-F238E27FC236}">
                  <a16:creationId xmlns:a16="http://schemas.microsoft.com/office/drawing/2014/main" id="{4834E7B5-80B5-BD98-6598-15F12CD16E29}"/>
                </a:ext>
              </a:extLst>
            </p:cNvPr>
            <p:cNvGrpSpPr/>
            <p:nvPr/>
          </p:nvGrpSpPr>
          <p:grpSpPr>
            <a:xfrm>
              <a:off x="1740992" y="957102"/>
              <a:ext cx="2308346" cy="3977516"/>
              <a:chOff x="1740992" y="957102"/>
              <a:chExt cx="2308346" cy="3977516"/>
            </a:xfrm>
          </p:grpSpPr>
          <p:sp>
            <p:nvSpPr>
              <p:cNvPr id="420" name="Rectangle 419">
                <a:extLst>
                  <a:ext uri="{FF2B5EF4-FFF2-40B4-BE49-F238E27FC236}">
                    <a16:creationId xmlns:a16="http://schemas.microsoft.com/office/drawing/2014/main" id="{795EC251-BF89-D23D-96AD-94E3CA0FA121}"/>
                  </a:ext>
                </a:extLst>
              </p:cNvPr>
              <p:cNvSpPr/>
              <p:nvPr/>
            </p:nvSpPr>
            <p:spPr>
              <a:xfrm rot="5400000">
                <a:off x="2737532" y="3408243"/>
                <a:ext cx="329141" cy="153169"/>
              </a:xfrm>
              <a:prstGeom prst="rect">
                <a:avLst/>
              </a:prstGeom>
              <a:solidFill>
                <a:srgbClr val="D0D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2" name="Rounded Rectangle 141">
                <a:extLst>
                  <a:ext uri="{FF2B5EF4-FFF2-40B4-BE49-F238E27FC236}">
                    <a16:creationId xmlns:a16="http://schemas.microsoft.com/office/drawing/2014/main" id="{29F91A2F-E931-51AF-FEBF-FCD729A8BB14}"/>
                  </a:ext>
                </a:extLst>
              </p:cNvPr>
              <p:cNvSpPr/>
              <p:nvPr/>
            </p:nvSpPr>
            <p:spPr>
              <a:xfrm>
                <a:off x="1740992" y="1257299"/>
                <a:ext cx="2308346" cy="3677319"/>
              </a:xfrm>
              <a:prstGeom prst="roundRect">
                <a:avLst>
                  <a:gd name="adj" fmla="val 5413"/>
                </a:avLst>
              </a:prstGeom>
              <a:noFill/>
              <a:ln>
                <a:solidFill>
                  <a:srgbClr val="2339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highlight>
                    <a:srgbClr val="002A39"/>
                  </a:highlight>
                </a:endParaRPr>
              </a:p>
            </p:txBody>
          </p:sp>
          <p:sp>
            <p:nvSpPr>
              <p:cNvPr id="89" name="Rounded Rectangle 88">
                <a:extLst>
                  <a:ext uri="{FF2B5EF4-FFF2-40B4-BE49-F238E27FC236}">
                    <a16:creationId xmlns:a16="http://schemas.microsoft.com/office/drawing/2014/main" id="{E99CB9D1-E328-9452-FAC0-9E2425225164}"/>
                  </a:ext>
                </a:extLst>
              </p:cNvPr>
              <p:cNvSpPr/>
              <p:nvPr/>
            </p:nvSpPr>
            <p:spPr>
              <a:xfrm>
                <a:off x="2715165" y="4113494"/>
                <a:ext cx="360001" cy="4746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6" name="Rounded Rectangle 55">
                <a:extLst>
                  <a:ext uri="{FF2B5EF4-FFF2-40B4-BE49-F238E27FC236}">
                    <a16:creationId xmlns:a16="http://schemas.microsoft.com/office/drawing/2014/main" id="{CB94C082-D51E-C589-D387-23074EEC46DA}"/>
                  </a:ext>
                </a:extLst>
              </p:cNvPr>
              <p:cNvSpPr/>
              <p:nvPr/>
            </p:nvSpPr>
            <p:spPr>
              <a:xfrm>
                <a:off x="2253358" y="3762402"/>
                <a:ext cx="1283615" cy="670227"/>
              </a:xfrm>
              <a:prstGeom prst="roundRect">
                <a:avLst/>
              </a:prstGeom>
              <a:noFill/>
              <a:ln>
                <a:solidFill>
                  <a:srgbClr val="002A39"/>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0" name="Rounded Rectangle 69">
                <a:extLst>
                  <a:ext uri="{FF2B5EF4-FFF2-40B4-BE49-F238E27FC236}">
                    <a16:creationId xmlns:a16="http://schemas.microsoft.com/office/drawing/2014/main" id="{9349E77D-B513-B485-4C8F-D246C1027E95}"/>
                  </a:ext>
                </a:extLst>
              </p:cNvPr>
              <p:cNvSpPr/>
              <p:nvPr/>
            </p:nvSpPr>
            <p:spPr>
              <a:xfrm>
                <a:off x="2418783" y="4408769"/>
                <a:ext cx="952765" cy="5764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79" name="Group 78">
                <a:extLst>
                  <a:ext uri="{FF2B5EF4-FFF2-40B4-BE49-F238E27FC236}">
                    <a16:creationId xmlns:a16="http://schemas.microsoft.com/office/drawing/2014/main" id="{99A235B8-76AD-187F-C56E-1B1514DD4ACB}"/>
                  </a:ext>
                </a:extLst>
              </p:cNvPr>
              <p:cNvGrpSpPr/>
              <p:nvPr/>
            </p:nvGrpSpPr>
            <p:grpSpPr>
              <a:xfrm>
                <a:off x="2071320" y="4294440"/>
                <a:ext cx="1647691" cy="360000"/>
                <a:chOff x="3069347" y="4294440"/>
                <a:chExt cx="1647691" cy="360000"/>
              </a:xfrm>
            </p:grpSpPr>
            <p:pic>
              <p:nvPicPr>
                <p:cNvPr id="145" name="Picture 144">
                  <a:extLst>
                    <a:ext uri="{FF2B5EF4-FFF2-40B4-BE49-F238E27FC236}">
                      <a16:creationId xmlns:a16="http://schemas.microsoft.com/office/drawing/2014/main" id="{11DBC56A-39A5-C8C9-9447-6518973A7B8D}"/>
                    </a:ext>
                  </a:extLst>
                </p:cNvPr>
                <p:cNvPicPr>
                  <a:picLocks noChangeAspect="1"/>
                </p:cNvPicPr>
                <p:nvPr/>
              </p:nvPicPr>
              <p:blipFill>
                <a:blip r:embed="rId8"/>
                <a:stretch>
                  <a:fillRect/>
                </a:stretch>
              </p:blipFill>
              <p:spPr>
                <a:xfrm>
                  <a:off x="3069347" y="4294440"/>
                  <a:ext cx="360000" cy="360000"/>
                </a:xfrm>
                <a:prstGeom prst="rect">
                  <a:avLst/>
                </a:prstGeom>
              </p:spPr>
            </p:pic>
            <p:pic>
              <p:nvPicPr>
                <p:cNvPr id="155" name="Picture 154">
                  <a:extLst>
                    <a:ext uri="{FF2B5EF4-FFF2-40B4-BE49-F238E27FC236}">
                      <a16:creationId xmlns:a16="http://schemas.microsoft.com/office/drawing/2014/main" id="{20E4888A-C1FB-FC69-CC46-8742E5E9A74C}"/>
                    </a:ext>
                  </a:extLst>
                </p:cNvPr>
                <p:cNvPicPr>
                  <a:picLocks noChangeAspect="1"/>
                </p:cNvPicPr>
                <p:nvPr/>
              </p:nvPicPr>
              <p:blipFill>
                <a:blip r:embed="rId9"/>
                <a:stretch>
                  <a:fillRect/>
                </a:stretch>
              </p:blipFill>
              <p:spPr>
                <a:xfrm>
                  <a:off x="3498577" y="4294440"/>
                  <a:ext cx="360000" cy="360000"/>
                </a:xfrm>
                <a:prstGeom prst="rect">
                  <a:avLst/>
                </a:prstGeom>
              </p:spPr>
            </p:pic>
            <p:pic>
              <p:nvPicPr>
                <p:cNvPr id="77" name="Picture 76">
                  <a:extLst>
                    <a:ext uri="{FF2B5EF4-FFF2-40B4-BE49-F238E27FC236}">
                      <a16:creationId xmlns:a16="http://schemas.microsoft.com/office/drawing/2014/main" id="{362D0415-637C-EBD2-3646-0F470F0785DC}"/>
                    </a:ext>
                  </a:extLst>
                </p:cNvPr>
                <p:cNvPicPr>
                  <a:picLocks noChangeAspect="1"/>
                </p:cNvPicPr>
                <p:nvPr/>
              </p:nvPicPr>
              <p:blipFill>
                <a:blip r:embed="rId10"/>
                <a:stretch>
                  <a:fillRect/>
                </a:stretch>
              </p:blipFill>
              <p:spPr>
                <a:xfrm>
                  <a:off x="4357038" y="4294440"/>
                  <a:ext cx="360000" cy="360000"/>
                </a:xfrm>
                <a:prstGeom prst="rect">
                  <a:avLst/>
                </a:prstGeom>
              </p:spPr>
            </p:pic>
            <p:pic>
              <p:nvPicPr>
                <p:cNvPr id="78" name="Picture 77">
                  <a:extLst>
                    <a:ext uri="{FF2B5EF4-FFF2-40B4-BE49-F238E27FC236}">
                      <a16:creationId xmlns:a16="http://schemas.microsoft.com/office/drawing/2014/main" id="{1D034DB9-9147-5D3F-5308-C00B007B1D54}"/>
                    </a:ext>
                  </a:extLst>
                </p:cNvPr>
                <p:cNvPicPr>
                  <a:picLocks noChangeAspect="1"/>
                </p:cNvPicPr>
                <p:nvPr/>
              </p:nvPicPr>
              <p:blipFill>
                <a:blip r:embed="rId11"/>
                <a:stretch>
                  <a:fillRect/>
                </a:stretch>
              </p:blipFill>
              <p:spPr>
                <a:xfrm>
                  <a:off x="3927807" y="4294440"/>
                  <a:ext cx="360000" cy="360000"/>
                </a:xfrm>
                <a:prstGeom prst="rect">
                  <a:avLst/>
                </a:prstGeom>
              </p:spPr>
            </p:pic>
          </p:grpSp>
          <p:pic>
            <p:nvPicPr>
              <p:cNvPr id="146" name="Picture 145" descr="A blue circle with white check mark and square boxes&#10;&#10;AI-generated content may be incorrect.">
                <a:extLst>
                  <a:ext uri="{FF2B5EF4-FFF2-40B4-BE49-F238E27FC236}">
                    <a16:creationId xmlns:a16="http://schemas.microsoft.com/office/drawing/2014/main" id="{A25FECD5-F671-EE6C-4734-6BBF1E5B1AEC}"/>
                  </a:ext>
                </a:extLst>
              </p:cNvPr>
              <p:cNvPicPr>
                <a:picLocks noChangeAspect="1"/>
              </p:cNvPicPr>
              <p:nvPr/>
            </p:nvPicPr>
            <p:blipFill>
              <a:blip r:embed="rId12"/>
              <a:stretch>
                <a:fillRect/>
              </a:stretch>
            </p:blipFill>
            <p:spPr>
              <a:xfrm>
                <a:off x="2543125" y="957102"/>
                <a:ext cx="704080" cy="604447"/>
              </a:xfrm>
              <a:prstGeom prst="rect">
                <a:avLst/>
              </a:prstGeom>
            </p:spPr>
          </p:pic>
          <p:pic>
            <p:nvPicPr>
              <p:cNvPr id="34" name="Picture 33">
                <a:extLst>
                  <a:ext uri="{FF2B5EF4-FFF2-40B4-BE49-F238E27FC236}">
                    <a16:creationId xmlns:a16="http://schemas.microsoft.com/office/drawing/2014/main" id="{E1D22CAE-1462-AD64-225F-04F3380896FC}"/>
                  </a:ext>
                </a:extLst>
              </p:cNvPr>
              <p:cNvPicPr>
                <a:picLocks noChangeAspect="1"/>
              </p:cNvPicPr>
              <p:nvPr/>
            </p:nvPicPr>
            <p:blipFill>
              <a:blip r:embed="rId13"/>
              <a:stretch>
                <a:fillRect/>
              </a:stretch>
            </p:blipFill>
            <p:spPr>
              <a:xfrm>
                <a:off x="2643143" y="3526100"/>
                <a:ext cx="504045" cy="466554"/>
              </a:xfrm>
              <a:prstGeom prst="rect">
                <a:avLst/>
              </a:prstGeom>
            </p:spPr>
          </p:pic>
          <p:sp>
            <p:nvSpPr>
              <p:cNvPr id="196" name="TextBox 195">
                <a:extLst>
                  <a:ext uri="{FF2B5EF4-FFF2-40B4-BE49-F238E27FC236}">
                    <a16:creationId xmlns:a16="http://schemas.microsoft.com/office/drawing/2014/main" id="{10C9FEB1-5F5F-E0BA-EAA1-60C87FA93D26}"/>
                  </a:ext>
                </a:extLst>
              </p:cNvPr>
              <p:cNvSpPr txBox="1"/>
              <p:nvPr/>
            </p:nvSpPr>
            <p:spPr>
              <a:xfrm>
                <a:off x="2514736" y="3957729"/>
                <a:ext cx="733519" cy="238575"/>
              </a:xfrm>
              <a:prstGeom prst="rect">
                <a:avLst/>
              </a:prstGeom>
              <a:noFill/>
            </p:spPr>
            <p:txBody>
              <a:bodyPr wrap="none" rtlCol="0">
                <a:spAutoFit/>
              </a:bodyPr>
              <a:lstStyle/>
              <a:p>
                <a:pPr algn="ctr"/>
                <a:r>
                  <a:rPr lang="en-US" sz="1467">
                    <a:solidFill>
                      <a:srgbClr val="002A39"/>
                    </a:solidFill>
                    <a:latin typeface="Calibri" panose="020F0502020204030204" pitchFamily="34" charset="0"/>
                    <a:cs typeface="Calibri" panose="020F0502020204030204" pitchFamily="34" charset="0"/>
                  </a:rPr>
                  <a:t>Rulebooks</a:t>
                </a:r>
              </a:p>
            </p:txBody>
          </p:sp>
          <p:grpSp>
            <p:nvGrpSpPr>
              <p:cNvPr id="200" name="Group 199">
                <a:extLst>
                  <a:ext uri="{FF2B5EF4-FFF2-40B4-BE49-F238E27FC236}">
                    <a16:creationId xmlns:a16="http://schemas.microsoft.com/office/drawing/2014/main" id="{4CB137AC-6E96-7938-44A4-4ABA87F36AF9}"/>
                  </a:ext>
                </a:extLst>
              </p:cNvPr>
              <p:cNvGrpSpPr/>
              <p:nvPr/>
            </p:nvGrpSpPr>
            <p:grpSpPr>
              <a:xfrm>
                <a:off x="2683964" y="4201134"/>
                <a:ext cx="425816" cy="93378"/>
                <a:chOff x="3855533" y="4097515"/>
                <a:chExt cx="425816" cy="196997"/>
              </a:xfrm>
            </p:grpSpPr>
            <p:cxnSp>
              <p:nvCxnSpPr>
                <p:cNvPr id="198" name="Straight Connector 197">
                  <a:extLst>
                    <a:ext uri="{FF2B5EF4-FFF2-40B4-BE49-F238E27FC236}">
                      <a16:creationId xmlns:a16="http://schemas.microsoft.com/office/drawing/2014/main" id="{EF83D479-A0C3-09D4-6D9B-96D9A21EF528}"/>
                    </a:ext>
                  </a:extLst>
                </p:cNvPr>
                <p:cNvCxnSpPr/>
                <p:nvPr/>
              </p:nvCxnSpPr>
              <p:spPr>
                <a:xfrm>
                  <a:off x="3855533" y="4097515"/>
                  <a:ext cx="0" cy="196997"/>
                </a:xfrm>
                <a:prstGeom prst="line">
                  <a:avLst/>
                </a:prstGeom>
                <a:noFill/>
                <a:ln>
                  <a:solidFill>
                    <a:srgbClr val="002A39"/>
                  </a:solidFill>
                  <a:prstDash val="sysDash"/>
                </a:ln>
              </p:spPr>
              <p:style>
                <a:lnRef idx="2">
                  <a:schemeClr val="accent1">
                    <a:shade val="15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08A4BBD8-D984-7C28-C514-B80169D8CB78}"/>
                    </a:ext>
                  </a:extLst>
                </p:cNvPr>
                <p:cNvCxnSpPr/>
                <p:nvPr/>
              </p:nvCxnSpPr>
              <p:spPr>
                <a:xfrm>
                  <a:off x="4281349" y="4097515"/>
                  <a:ext cx="0" cy="196997"/>
                </a:xfrm>
                <a:prstGeom prst="line">
                  <a:avLst/>
                </a:prstGeom>
                <a:noFill/>
                <a:ln>
                  <a:solidFill>
                    <a:srgbClr val="002A39"/>
                  </a:solidFill>
                  <a:prstDash val="sysDash"/>
                </a:ln>
              </p:spPr>
              <p:style>
                <a:lnRef idx="2">
                  <a:schemeClr val="accent1">
                    <a:shade val="15000"/>
                  </a:schemeClr>
                </a:lnRef>
                <a:fillRef idx="1">
                  <a:schemeClr val="accent1"/>
                </a:fillRef>
                <a:effectRef idx="0">
                  <a:schemeClr val="accent1"/>
                </a:effectRef>
                <a:fontRef idx="minor">
                  <a:schemeClr val="lt1"/>
                </a:fontRef>
              </p:style>
            </p:cxnSp>
          </p:grpSp>
          <p:pic>
            <p:nvPicPr>
              <p:cNvPr id="147" name="Picture 146">
                <a:extLst>
                  <a:ext uri="{FF2B5EF4-FFF2-40B4-BE49-F238E27FC236}">
                    <a16:creationId xmlns:a16="http://schemas.microsoft.com/office/drawing/2014/main" id="{A706268F-7C90-0167-FB25-6E8D1C822C8E}"/>
                  </a:ext>
                </a:extLst>
              </p:cNvPr>
              <p:cNvPicPr>
                <a:picLocks noChangeAspect="1"/>
              </p:cNvPicPr>
              <p:nvPr/>
            </p:nvPicPr>
            <p:blipFill>
              <a:blip r:embed="rId14"/>
              <a:stretch>
                <a:fillRect/>
              </a:stretch>
            </p:blipFill>
            <p:spPr>
              <a:xfrm>
                <a:off x="2597236" y="2814084"/>
                <a:ext cx="595859" cy="595859"/>
              </a:xfrm>
              <a:prstGeom prst="rect">
                <a:avLst/>
              </a:prstGeom>
            </p:spPr>
          </p:pic>
        </p:grpSp>
      </p:grpSp>
      <p:sp>
        <p:nvSpPr>
          <p:cNvPr id="370" name="Rounded Rectangle 369">
            <a:extLst>
              <a:ext uri="{FF2B5EF4-FFF2-40B4-BE49-F238E27FC236}">
                <a16:creationId xmlns:a16="http://schemas.microsoft.com/office/drawing/2014/main" id="{F88C8F6F-1207-7B49-5FEC-B02A99DCABE2}"/>
              </a:ext>
            </a:extLst>
          </p:cNvPr>
          <p:cNvSpPr/>
          <p:nvPr/>
        </p:nvSpPr>
        <p:spPr>
          <a:xfrm>
            <a:off x="386408" y="1676399"/>
            <a:ext cx="1719349" cy="4903092"/>
          </a:xfrm>
          <a:prstGeom prst="roundRect">
            <a:avLst>
              <a:gd name="adj" fmla="val 5413"/>
            </a:avLst>
          </a:prstGeom>
          <a:noFill/>
          <a:ln>
            <a:solidFill>
              <a:srgbClr val="23394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highlight>
                <a:srgbClr val="002A39"/>
              </a:highlight>
            </a:endParaRPr>
          </a:p>
        </p:txBody>
      </p:sp>
      <p:sp>
        <p:nvSpPr>
          <p:cNvPr id="12" name="Slide Title">
            <a:extLst>
              <a:ext uri="{FF2B5EF4-FFF2-40B4-BE49-F238E27FC236}">
                <a16:creationId xmlns:a16="http://schemas.microsoft.com/office/drawing/2014/main" id="{345479BE-8193-7978-0627-14D36FC6D92E}"/>
              </a:ext>
            </a:extLst>
          </p:cNvPr>
          <p:cNvSpPr>
            <a:spLocks noGrp="1"/>
          </p:cNvSpPr>
          <p:nvPr>
            <p:ph type="title"/>
          </p:nvPr>
        </p:nvSpPr>
        <p:spPr>
          <a:xfrm>
            <a:off x="381583" y="311491"/>
            <a:ext cx="10273165" cy="884070"/>
          </a:xfrm>
        </p:spPr>
        <p:txBody>
          <a:bodyPr/>
          <a:lstStyle/>
          <a:p>
            <a:pPr lvl="2">
              <a:tabLst>
                <a:tab pos="749281" algn="l"/>
              </a:tabLst>
            </a:pPr>
            <a:r>
              <a:rPr lang="en-US" sz="4800" b="1">
                <a:solidFill>
                  <a:schemeClr val="tx2"/>
                </a:solidFill>
                <a:latin typeface="Tiempos Headline Semibold" panose="02020703060303060403" pitchFamily="18" charset="77"/>
              </a:rPr>
              <a:t>AI Assisted Compliance Checks</a:t>
            </a:r>
          </a:p>
        </p:txBody>
      </p:sp>
      <p:grpSp>
        <p:nvGrpSpPr>
          <p:cNvPr id="384" name="Group 383">
            <a:extLst>
              <a:ext uri="{FF2B5EF4-FFF2-40B4-BE49-F238E27FC236}">
                <a16:creationId xmlns:a16="http://schemas.microsoft.com/office/drawing/2014/main" id="{2F4235EC-531E-CB00-8BAB-EA692FC93D57}"/>
              </a:ext>
            </a:extLst>
          </p:cNvPr>
          <p:cNvGrpSpPr/>
          <p:nvPr/>
        </p:nvGrpSpPr>
        <p:grpSpPr>
          <a:xfrm>
            <a:off x="532909" y="5095786"/>
            <a:ext cx="1153714" cy="1224377"/>
            <a:chOff x="1464541" y="2688422"/>
            <a:chExt cx="865285" cy="918283"/>
          </a:xfrm>
        </p:grpSpPr>
        <p:pic>
          <p:nvPicPr>
            <p:cNvPr id="3" name="Picture 2">
              <a:extLst>
                <a:ext uri="{FF2B5EF4-FFF2-40B4-BE49-F238E27FC236}">
                  <a16:creationId xmlns:a16="http://schemas.microsoft.com/office/drawing/2014/main" id="{2A883A93-181B-12B8-87E5-F1007433C551}"/>
                </a:ext>
              </a:extLst>
            </p:cNvPr>
            <p:cNvPicPr>
              <a:picLocks noChangeAspect="1"/>
            </p:cNvPicPr>
            <p:nvPr/>
          </p:nvPicPr>
          <p:blipFill>
            <a:blip r:embed="rId15"/>
            <a:stretch>
              <a:fillRect/>
            </a:stretch>
          </p:blipFill>
          <p:spPr>
            <a:xfrm>
              <a:off x="1670864" y="2688422"/>
              <a:ext cx="452637" cy="528076"/>
            </a:xfrm>
            <a:prstGeom prst="rect">
              <a:avLst/>
            </a:prstGeom>
          </p:spPr>
        </p:pic>
        <p:sp>
          <p:nvSpPr>
            <p:cNvPr id="151" name="TextBox 150">
              <a:extLst>
                <a:ext uri="{FF2B5EF4-FFF2-40B4-BE49-F238E27FC236}">
                  <a16:creationId xmlns:a16="http://schemas.microsoft.com/office/drawing/2014/main" id="{E84CEBBE-1B48-C40C-C99E-A442116C9B18}"/>
                </a:ext>
              </a:extLst>
            </p:cNvPr>
            <p:cNvSpPr txBox="1"/>
            <p:nvPr/>
          </p:nvSpPr>
          <p:spPr>
            <a:xfrm>
              <a:off x="1464541" y="3175722"/>
              <a:ext cx="865285" cy="430983"/>
            </a:xfrm>
            <a:prstGeom prst="rect">
              <a:avLst/>
            </a:prstGeom>
            <a:noFill/>
          </p:spPr>
          <p:txBody>
            <a:bodyPr wrap="none" lIns="121920" tIns="60960" rIns="121920" bIns="60960" rtlCol="0" anchor="t">
              <a:spAutoFit/>
            </a:bodyPr>
            <a:lstStyle/>
            <a:p>
              <a:pPr algn="ctr"/>
              <a:r>
                <a:rPr lang="en-US" sz="1467">
                  <a:solidFill>
                    <a:srgbClr val="002A39"/>
                  </a:solidFill>
                  <a:latin typeface="Calibri"/>
                  <a:ea typeface="ＭＳ Ｐゴシック"/>
                  <a:cs typeface="Calibri"/>
                </a:rPr>
                <a:t>Project/Doc</a:t>
              </a:r>
            </a:p>
            <a:p>
              <a:pPr algn="ctr"/>
              <a:r>
                <a:rPr lang="en-US" sz="1467">
                  <a:solidFill>
                    <a:srgbClr val="002A39"/>
                  </a:solidFill>
                  <a:latin typeface="Calibri"/>
                  <a:cs typeface="Calibri"/>
                </a:rPr>
                <a:t>Attributes</a:t>
              </a:r>
            </a:p>
          </p:txBody>
        </p:sp>
      </p:grpSp>
      <p:pic>
        <p:nvPicPr>
          <p:cNvPr id="371" name="Picture 370">
            <a:extLst>
              <a:ext uri="{FF2B5EF4-FFF2-40B4-BE49-F238E27FC236}">
                <a16:creationId xmlns:a16="http://schemas.microsoft.com/office/drawing/2014/main" id="{6B56462E-EAB5-C45E-2D35-15D5471EE34E}"/>
              </a:ext>
            </a:extLst>
          </p:cNvPr>
          <p:cNvPicPr>
            <a:picLocks noChangeAspect="1"/>
          </p:cNvPicPr>
          <p:nvPr/>
        </p:nvPicPr>
        <p:blipFill>
          <a:blip r:embed="rId16"/>
          <a:stretch>
            <a:fillRect/>
          </a:stretch>
        </p:blipFill>
        <p:spPr>
          <a:xfrm>
            <a:off x="905283" y="1418847"/>
            <a:ext cx="681600" cy="515103"/>
          </a:xfrm>
          <a:prstGeom prst="rect">
            <a:avLst/>
          </a:prstGeom>
        </p:spPr>
      </p:pic>
      <p:grpSp>
        <p:nvGrpSpPr>
          <p:cNvPr id="382" name="Group 381">
            <a:extLst>
              <a:ext uri="{FF2B5EF4-FFF2-40B4-BE49-F238E27FC236}">
                <a16:creationId xmlns:a16="http://schemas.microsoft.com/office/drawing/2014/main" id="{9FD126C2-02B1-E0BF-C306-2E3279F66893}"/>
              </a:ext>
            </a:extLst>
          </p:cNvPr>
          <p:cNvGrpSpPr/>
          <p:nvPr/>
        </p:nvGrpSpPr>
        <p:grpSpPr>
          <a:xfrm>
            <a:off x="707315" y="3688236"/>
            <a:ext cx="804899" cy="1178444"/>
            <a:chOff x="1274132" y="2699789"/>
            <a:chExt cx="603674" cy="883833"/>
          </a:xfrm>
        </p:grpSpPr>
        <p:sp>
          <p:nvSpPr>
            <p:cNvPr id="172" name="TextBox 171">
              <a:extLst>
                <a:ext uri="{FF2B5EF4-FFF2-40B4-BE49-F238E27FC236}">
                  <a16:creationId xmlns:a16="http://schemas.microsoft.com/office/drawing/2014/main" id="{CE98470B-6AF3-C7C2-86AB-988C690BF523}"/>
                </a:ext>
              </a:extLst>
            </p:cNvPr>
            <p:cNvSpPr txBox="1"/>
            <p:nvPr/>
          </p:nvSpPr>
          <p:spPr>
            <a:xfrm>
              <a:off x="1274132" y="3175722"/>
              <a:ext cx="603674" cy="407900"/>
            </a:xfrm>
            <a:prstGeom prst="rect">
              <a:avLst/>
            </a:prstGeom>
            <a:noFill/>
          </p:spPr>
          <p:txBody>
            <a:bodyPr wrap="none" rtlCol="0">
              <a:spAutoFit/>
            </a:bodyPr>
            <a:lstStyle/>
            <a:p>
              <a:pPr algn="ctr"/>
              <a:r>
                <a:rPr lang="en-US" sz="1467">
                  <a:solidFill>
                    <a:srgbClr val="002A39"/>
                  </a:solidFill>
                  <a:latin typeface="Calibri" panose="020F0502020204030204" pitchFamily="34" charset="0"/>
                  <a:cs typeface="Calibri" panose="020F0502020204030204" pitchFamily="34" charset="0"/>
                </a:rPr>
                <a:t>Artwork</a:t>
              </a:r>
            </a:p>
            <a:p>
              <a:pPr algn="ctr"/>
              <a:r>
                <a:rPr lang="en-US" sz="1467">
                  <a:solidFill>
                    <a:srgbClr val="002A39"/>
                  </a:solidFill>
                  <a:latin typeface="Calibri" panose="020F0502020204030204" pitchFamily="34" charset="0"/>
                  <a:cs typeface="Calibri" panose="020F0502020204030204" pitchFamily="34" charset="0"/>
                </a:rPr>
                <a:t>PDF</a:t>
              </a:r>
            </a:p>
          </p:txBody>
        </p:sp>
        <p:pic>
          <p:nvPicPr>
            <p:cNvPr id="381" name="Picture 380">
              <a:extLst>
                <a:ext uri="{FF2B5EF4-FFF2-40B4-BE49-F238E27FC236}">
                  <a16:creationId xmlns:a16="http://schemas.microsoft.com/office/drawing/2014/main" id="{3AAB3D3B-AA22-AB9E-E822-9EB157C3DCDE}"/>
                </a:ext>
              </a:extLst>
            </p:cNvPr>
            <p:cNvPicPr>
              <a:picLocks noChangeAspect="1"/>
            </p:cNvPicPr>
            <p:nvPr/>
          </p:nvPicPr>
          <p:blipFill>
            <a:blip r:embed="rId17"/>
            <a:stretch>
              <a:fillRect/>
            </a:stretch>
          </p:blipFill>
          <p:spPr>
            <a:xfrm>
              <a:off x="1395968" y="2699789"/>
              <a:ext cx="360000" cy="510380"/>
            </a:xfrm>
            <a:prstGeom prst="rect">
              <a:avLst/>
            </a:prstGeom>
          </p:spPr>
        </p:pic>
      </p:grpSp>
      <p:pic>
        <p:nvPicPr>
          <p:cNvPr id="424" name="COG ">
            <a:extLst>
              <a:ext uri="{FF2B5EF4-FFF2-40B4-BE49-F238E27FC236}">
                <a16:creationId xmlns:a16="http://schemas.microsoft.com/office/drawing/2014/main" id="{11033ED2-9D1B-0037-82DE-21158CECC0C5}"/>
              </a:ext>
            </a:extLst>
          </p:cNvPr>
          <p:cNvPicPr>
            <a:picLocks noChangeAspect="1"/>
          </p:cNvPicPr>
          <p:nvPr/>
        </p:nvPicPr>
        <p:blipFill>
          <a:blip r:embed="rId14"/>
          <a:stretch>
            <a:fillRect/>
          </a:stretch>
        </p:blipFill>
        <p:spPr>
          <a:xfrm>
            <a:off x="3462982" y="3752113"/>
            <a:ext cx="794479" cy="794479"/>
          </a:xfrm>
          <a:prstGeom prst="rect">
            <a:avLst/>
          </a:prstGeom>
        </p:spPr>
      </p:pic>
      <p:grpSp>
        <p:nvGrpSpPr>
          <p:cNvPr id="446" name="Group 445">
            <a:extLst>
              <a:ext uri="{FF2B5EF4-FFF2-40B4-BE49-F238E27FC236}">
                <a16:creationId xmlns:a16="http://schemas.microsoft.com/office/drawing/2014/main" id="{12C810B4-D049-CA28-6793-BDB1620B6DD4}"/>
              </a:ext>
            </a:extLst>
          </p:cNvPr>
          <p:cNvGrpSpPr/>
          <p:nvPr/>
        </p:nvGrpSpPr>
        <p:grpSpPr>
          <a:xfrm>
            <a:off x="8955186" y="3636228"/>
            <a:ext cx="708913" cy="1034192"/>
            <a:chOff x="6716389" y="2727171"/>
            <a:chExt cx="531685" cy="775644"/>
          </a:xfrm>
        </p:grpSpPr>
        <p:sp>
          <p:nvSpPr>
            <p:cNvPr id="421" name="Rectangle 420">
              <a:extLst>
                <a:ext uri="{FF2B5EF4-FFF2-40B4-BE49-F238E27FC236}">
                  <a16:creationId xmlns:a16="http://schemas.microsoft.com/office/drawing/2014/main" id="{E66C7E46-D73C-5A93-07C8-EF108D32DCA5}"/>
                </a:ext>
              </a:extLst>
            </p:cNvPr>
            <p:cNvSpPr/>
            <p:nvPr/>
          </p:nvSpPr>
          <p:spPr>
            <a:xfrm>
              <a:off x="6716389" y="2826475"/>
              <a:ext cx="185389" cy="153169"/>
            </a:xfrm>
            <a:prstGeom prst="rect">
              <a:avLst/>
            </a:prstGeom>
            <a:solidFill>
              <a:srgbClr val="D0D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22" name="Rectangle 421">
              <a:extLst>
                <a:ext uri="{FF2B5EF4-FFF2-40B4-BE49-F238E27FC236}">
                  <a16:creationId xmlns:a16="http://schemas.microsoft.com/office/drawing/2014/main" id="{D6DFA5A2-C18D-0B71-7D3A-384CBA65E18A}"/>
                </a:ext>
              </a:extLst>
            </p:cNvPr>
            <p:cNvSpPr/>
            <p:nvPr/>
          </p:nvSpPr>
          <p:spPr>
            <a:xfrm>
              <a:off x="6716389" y="3240866"/>
              <a:ext cx="185389" cy="153169"/>
            </a:xfrm>
            <a:prstGeom prst="rect">
              <a:avLst/>
            </a:prstGeom>
            <a:solidFill>
              <a:srgbClr val="D0D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445" name="Group 444">
              <a:extLst>
                <a:ext uri="{FF2B5EF4-FFF2-40B4-BE49-F238E27FC236}">
                  <a16:creationId xmlns:a16="http://schemas.microsoft.com/office/drawing/2014/main" id="{AEF772AA-98FF-EB39-0807-E1F9C12D358A}"/>
                </a:ext>
              </a:extLst>
            </p:cNvPr>
            <p:cNvGrpSpPr/>
            <p:nvPr/>
          </p:nvGrpSpPr>
          <p:grpSpPr>
            <a:xfrm>
              <a:off x="6888074" y="2727171"/>
              <a:ext cx="360000" cy="775644"/>
              <a:chOff x="6888074" y="2727171"/>
              <a:chExt cx="360000" cy="775644"/>
            </a:xfrm>
          </p:grpSpPr>
          <p:pic>
            <p:nvPicPr>
              <p:cNvPr id="443" name="Picture 442">
                <a:extLst>
                  <a:ext uri="{FF2B5EF4-FFF2-40B4-BE49-F238E27FC236}">
                    <a16:creationId xmlns:a16="http://schemas.microsoft.com/office/drawing/2014/main" id="{80F4473C-51EA-4D11-07D2-36C195E3F855}"/>
                  </a:ext>
                </a:extLst>
              </p:cNvPr>
              <p:cNvPicPr>
                <a:picLocks noChangeAspect="1"/>
              </p:cNvPicPr>
              <p:nvPr/>
            </p:nvPicPr>
            <p:blipFill>
              <a:blip r:embed="rId18"/>
              <a:stretch>
                <a:fillRect/>
              </a:stretch>
            </p:blipFill>
            <p:spPr>
              <a:xfrm>
                <a:off x="6888074" y="2727171"/>
                <a:ext cx="360000" cy="360000"/>
              </a:xfrm>
              <a:prstGeom prst="rect">
                <a:avLst/>
              </a:prstGeom>
            </p:spPr>
          </p:pic>
          <p:pic>
            <p:nvPicPr>
              <p:cNvPr id="444" name="Picture 443">
                <a:extLst>
                  <a:ext uri="{FF2B5EF4-FFF2-40B4-BE49-F238E27FC236}">
                    <a16:creationId xmlns:a16="http://schemas.microsoft.com/office/drawing/2014/main" id="{6B9F4C8D-8333-24F6-5EC3-D2C8DE71DA41}"/>
                  </a:ext>
                </a:extLst>
              </p:cNvPr>
              <p:cNvPicPr>
                <a:picLocks noChangeAspect="1"/>
              </p:cNvPicPr>
              <p:nvPr/>
            </p:nvPicPr>
            <p:blipFill>
              <a:blip r:embed="rId19"/>
              <a:stretch>
                <a:fillRect/>
              </a:stretch>
            </p:blipFill>
            <p:spPr>
              <a:xfrm>
                <a:off x="6888074" y="3142815"/>
                <a:ext cx="360000" cy="360000"/>
              </a:xfrm>
              <a:prstGeom prst="rect">
                <a:avLst/>
              </a:prstGeom>
            </p:spPr>
          </p:pic>
        </p:grpSp>
      </p:grpSp>
      <p:sp>
        <p:nvSpPr>
          <p:cNvPr id="463" name="TextBox 462">
            <a:extLst>
              <a:ext uri="{FF2B5EF4-FFF2-40B4-BE49-F238E27FC236}">
                <a16:creationId xmlns:a16="http://schemas.microsoft.com/office/drawing/2014/main" id="{BB7D92DC-BAD9-D2CD-0040-93444E1D4C29}"/>
              </a:ext>
            </a:extLst>
          </p:cNvPr>
          <p:cNvSpPr txBox="1"/>
          <p:nvPr/>
        </p:nvSpPr>
        <p:spPr>
          <a:xfrm>
            <a:off x="900731" y="1584226"/>
            <a:ext cx="681600" cy="235898"/>
          </a:xfrm>
          <a:prstGeom prst="rect">
            <a:avLst/>
          </a:prstGeom>
          <a:noFill/>
        </p:spPr>
        <p:txBody>
          <a:bodyPr wrap="square" rtlCol="0">
            <a:spAutoFit/>
          </a:bodyPr>
          <a:lstStyle/>
          <a:p>
            <a:pPr algn="ctr"/>
            <a:r>
              <a:rPr lang="en-US" sz="933">
                <a:solidFill>
                  <a:schemeClr val="bg1"/>
                </a:solidFill>
                <a:latin typeface="Calibri" panose="020F0502020204030204" pitchFamily="34" charset="0"/>
                <a:cs typeface="Calibri" panose="020F0502020204030204" pitchFamily="34" charset="0"/>
              </a:rPr>
              <a:t>PROJECT</a:t>
            </a:r>
          </a:p>
        </p:txBody>
      </p:sp>
      <p:sp>
        <p:nvSpPr>
          <p:cNvPr id="5" name="Rounded Rectangle 415">
            <a:extLst>
              <a:ext uri="{FF2B5EF4-FFF2-40B4-BE49-F238E27FC236}">
                <a16:creationId xmlns:a16="http://schemas.microsoft.com/office/drawing/2014/main" id="{E4AE0EAA-EA1D-BC47-9CB3-C8DAB89121A8}"/>
              </a:ext>
            </a:extLst>
          </p:cNvPr>
          <p:cNvSpPr/>
          <p:nvPr/>
        </p:nvSpPr>
        <p:spPr>
          <a:xfrm rot="10800000" flipH="1">
            <a:off x="1319069" y="2759457"/>
            <a:ext cx="443244" cy="1274823"/>
          </a:xfrm>
          <a:custGeom>
            <a:avLst/>
            <a:gdLst>
              <a:gd name="csX0" fmla="*/ 0 w 1036473"/>
              <a:gd name="csY0" fmla="*/ 54716 h 1010833"/>
              <a:gd name="csX1" fmla="*/ 54716 w 1036473"/>
              <a:gd name="csY1" fmla="*/ 0 h 1010833"/>
              <a:gd name="csX2" fmla="*/ 981757 w 1036473"/>
              <a:gd name="csY2" fmla="*/ 0 h 1010833"/>
              <a:gd name="csX3" fmla="*/ 1036473 w 1036473"/>
              <a:gd name="csY3" fmla="*/ 54716 h 1010833"/>
              <a:gd name="csX4" fmla="*/ 1036473 w 1036473"/>
              <a:gd name="csY4" fmla="*/ 956117 h 1010833"/>
              <a:gd name="csX5" fmla="*/ 981757 w 1036473"/>
              <a:gd name="csY5" fmla="*/ 1010833 h 1010833"/>
              <a:gd name="csX6" fmla="*/ 54716 w 1036473"/>
              <a:gd name="csY6" fmla="*/ 1010833 h 1010833"/>
              <a:gd name="csX7" fmla="*/ 0 w 1036473"/>
              <a:gd name="csY7" fmla="*/ 956117 h 1010833"/>
              <a:gd name="csX8" fmla="*/ 0 w 1036473"/>
              <a:gd name="csY8" fmla="*/ 54716 h 1010833"/>
              <a:gd name="csX0" fmla="*/ 0 w 1036473"/>
              <a:gd name="csY0" fmla="*/ 88440 h 1044557"/>
              <a:gd name="csX1" fmla="*/ 981757 w 1036473"/>
              <a:gd name="csY1" fmla="*/ 33724 h 1044557"/>
              <a:gd name="csX2" fmla="*/ 1036473 w 1036473"/>
              <a:gd name="csY2" fmla="*/ 88440 h 1044557"/>
              <a:gd name="csX3" fmla="*/ 1036473 w 1036473"/>
              <a:gd name="csY3" fmla="*/ 989841 h 1044557"/>
              <a:gd name="csX4" fmla="*/ 981757 w 1036473"/>
              <a:gd name="csY4" fmla="*/ 1044557 h 1044557"/>
              <a:gd name="csX5" fmla="*/ 54716 w 1036473"/>
              <a:gd name="csY5" fmla="*/ 1044557 h 1044557"/>
              <a:gd name="csX6" fmla="*/ 0 w 1036473"/>
              <a:gd name="csY6" fmla="*/ 989841 h 1044557"/>
              <a:gd name="csX7" fmla="*/ 0 w 1036473"/>
              <a:gd name="csY7" fmla="*/ 88440 h 1044557"/>
              <a:gd name="csX0" fmla="*/ 0 w 1036473"/>
              <a:gd name="csY0" fmla="*/ 88440 h 1044557"/>
              <a:gd name="csX1" fmla="*/ 981757 w 1036473"/>
              <a:gd name="csY1" fmla="*/ 33724 h 1044557"/>
              <a:gd name="csX2" fmla="*/ 1036473 w 1036473"/>
              <a:gd name="csY2" fmla="*/ 88440 h 1044557"/>
              <a:gd name="csX3" fmla="*/ 1036473 w 1036473"/>
              <a:gd name="csY3" fmla="*/ 989841 h 1044557"/>
              <a:gd name="csX4" fmla="*/ 981757 w 1036473"/>
              <a:gd name="csY4" fmla="*/ 1044557 h 1044557"/>
              <a:gd name="csX5" fmla="*/ 54716 w 1036473"/>
              <a:gd name="csY5" fmla="*/ 1044557 h 1044557"/>
              <a:gd name="csX6" fmla="*/ 0 w 1036473"/>
              <a:gd name="csY6" fmla="*/ 989841 h 1044557"/>
              <a:gd name="csX7" fmla="*/ 91440 w 1036473"/>
              <a:gd name="csY7" fmla="*/ 179880 h 1044557"/>
              <a:gd name="csX0" fmla="*/ 0 w 1036473"/>
              <a:gd name="csY0" fmla="*/ 88440 h 1044557"/>
              <a:gd name="csX1" fmla="*/ 981757 w 1036473"/>
              <a:gd name="csY1" fmla="*/ 33724 h 1044557"/>
              <a:gd name="csX2" fmla="*/ 1036473 w 1036473"/>
              <a:gd name="csY2" fmla="*/ 88440 h 1044557"/>
              <a:gd name="csX3" fmla="*/ 1036473 w 1036473"/>
              <a:gd name="csY3" fmla="*/ 989841 h 1044557"/>
              <a:gd name="csX4" fmla="*/ 981757 w 1036473"/>
              <a:gd name="csY4" fmla="*/ 1044557 h 1044557"/>
              <a:gd name="csX5" fmla="*/ 54716 w 1036473"/>
              <a:gd name="csY5" fmla="*/ 1044557 h 1044557"/>
              <a:gd name="csX6" fmla="*/ 0 w 1036473"/>
              <a:gd name="csY6" fmla="*/ 989841 h 1044557"/>
              <a:gd name="csX0" fmla="*/ 0 w 1036473"/>
              <a:gd name="csY0" fmla="*/ 88440 h 1044557"/>
              <a:gd name="csX1" fmla="*/ 981757 w 1036473"/>
              <a:gd name="csY1" fmla="*/ 33724 h 1044557"/>
              <a:gd name="csX2" fmla="*/ 1036473 w 1036473"/>
              <a:gd name="csY2" fmla="*/ 88440 h 1044557"/>
              <a:gd name="csX3" fmla="*/ 1036473 w 1036473"/>
              <a:gd name="csY3" fmla="*/ 989841 h 1044557"/>
              <a:gd name="csX4" fmla="*/ 981757 w 1036473"/>
              <a:gd name="csY4" fmla="*/ 1044557 h 1044557"/>
              <a:gd name="csX5" fmla="*/ 54716 w 1036473"/>
              <a:gd name="csY5" fmla="*/ 1044557 h 1044557"/>
              <a:gd name="csX0" fmla="*/ 927041 w 981757"/>
              <a:gd name="csY0" fmla="*/ 0 h 1010833"/>
              <a:gd name="csX1" fmla="*/ 981757 w 981757"/>
              <a:gd name="csY1" fmla="*/ 54716 h 1010833"/>
              <a:gd name="csX2" fmla="*/ 981757 w 981757"/>
              <a:gd name="csY2" fmla="*/ 956117 h 1010833"/>
              <a:gd name="csX3" fmla="*/ 927041 w 981757"/>
              <a:gd name="csY3" fmla="*/ 1010833 h 1010833"/>
              <a:gd name="csX4" fmla="*/ 0 w 981757"/>
              <a:gd name="csY4" fmla="*/ 1010833 h 1010833"/>
              <a:gd name="csX0" fmla="*/ 981757 w 981757"/>
              <a:gd name="csY0" fmla="*/ 0 h 956117"/>
              <a:gd name="csX1" fmla="*/ 981757 w 981757"/>
              <a:gd name="csY1" fmla="*/ 901401 h 956117"/>
              <a:gd name="csX2" fmla="*/ 927041 w 981757"/>
              <a:gd name="csY2" fmla="*/ 956117 h 956117"/>
              <a:gd name="csX3" fmla="*/ 0 w 981757"/>
              <a:gd name="csY3" fmla="*/ 956117 h 956117"/>
              <a:gd name="csX0" fmla="*/ 530951 w 530951"/>
              <a:gd name="csY0" fmla="*/ 0 h 956117"/>
              <a:gd name="csX1" fmla="*/ 530951 w 530951"/>
              <a:gd name="csY1" fmla="*/ 901401 h 956117"/>
              <a:gd name="csX2" fmla="*/ 476235 w 530951"/>
              <a:gd name="csY2" fmla="*/ 956117 h 956117"/>
              <a:gd name="csX3" fmla="*/ 0 w 530951"/>
              <a:gd name="csY3" fmla="*/ 956117 h 956117"/>
              <a:gd name="csX0" fmla="*/ 572514 w 572514"/>
              <a:gd name="csY0" fmla="*/ 0 h 956117"/>
              <a:gd name="csX1" fmla="*/ 572514 w 572514"/>
              <a:gd name="csY1" fmla="*/ 901401 h 956117"/>
              <a:gd name="csX2" fmla="*/ 517798 w 572514"/>
              <a:gd name="csY2" fmla="*/ 956117 h 956117"/>
              <a:gd name="csX3" fmla="*/ 0 w 572514"/>
              <a:gd name="csY3" fmla="*/ 956117 h 956117"/>
              <a:gd name="csX0" fmla="*/ 353439 w 353439"/>
              <a:gd name="csY0" fmla="*/ 0 h 956117"/>
              <a:gd name="csX1" fmla="*/ 353439 w 353439"/>
              <a:gd name="csY1" fmla="*/ 901401 h 956117"/>
              <a:gd name="csX2" fmla="*/ 298723 w 353439"/>
              <a:gd name="csY2" fmla="*/ 956117 h 956117"/>
              <a:gd name="csX3" fmla="*/ 0 w 353439"/>
              <a:gd name="csY3" fmla="*/ 956117 h 956117"/>
            </a:gdLst>
            <a:ahLst/>
            <a:cxnLst>
              <a:cxn ang="0">
                <a:pos x="csX0" y="csY0"/>
              </a:cxn>
              <a:cxn ang="0">
                <a:pos x="csX1" y="csY1"/>
              </a:cxn>
              <a:cxn ang="0">
                <a:pos x="csX2" y="csY2"/>
              </a:cxn>
              <a:cxn ang="0">
                <a:pos x="csX3" y="csY3"/>
              </a:cxn>
            </a:cxnLst>
            <a:rect l="l" t="t" r="r" b="b"/>
            <a:pathLst>
              <a:path w="353439" h="956117">
                <a:moveTo>
                  <a:pt x="353439" y="0"/>
                </a:moveTo>
                <a:lnTo>
                  <a:pt x="353439" y="901401"/>
                </a:lnTo>
                <a:cubicBezTo>
                  <a:pt x="353439" y="931620"/>
                  <a:pt x="328942" y="956117"/>
                  <a:pt x="298723" y="956117"/>
                </a:cubicBezTo>
                <a:lnTo>
                  <a:pt x="0" y="956117"/>
                </a:lnTo>
              </a:path>
            </a:pathLst>
          </a:custGeom>
          <a:noFill/>
          <a:ln w="152400">
            <a:solidFill>
              <a:srgbClr val="D0DE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383" name="Group 382">
            <a:extLst>
              <a:ext uri="{FF2B5EF4-FFF2-40B4-BE49-F238E27FC236}">
                <a16:creationId xmlns:a16="http://schemas.microsoft.com/office/drawing/2014/main" id="{06FD2E74-2BAA-B848-5487-48ADCEFBA473}"/>
              </a:ext>
            </a:extLst>
          </p:cNvPr>
          <p:cNvGrpSpPr/>
          <p:nvPr/>
        </p:nvGrpSpPr>
        <p:grpSpPr>
          <a:xfrm>
            <a:off x="707313" y="2150564"/>
            <a:ext cx="804899" cy="1289499"/>
            <a:chOff x="627477" y="2616498"/>
            <a:chExt cx="603674" cy="967124"/>
          </a:xfrm>
        </p:grpSpPr>
        <p:sp>
          <p:nvSpPr>
            <p:cNvPr id="150" name="TextBox 149">
              <a:extLst>
                <a:ext uri="{FF2B5EF4-FFF2-40B4-BE49-F238E27FC236}">
                  <a16:creationId xmlns:a16="http://schemas.microsoft.com/office/drawing/2014/main" id="{B4147A1B-3949-87E0-0442-A6F2F7A53E12}"/>
                </a:ext>
              </a:extLst>
            </p:cNvPr>
            <p:cNvSpPr txBox="1"/>
            <p:nvPr/>
          </p:nvSpPr>
          <p:spPr>
            <a:xfrm>
              <a:off x="627477" y="3175722"/>
              <a:ext cx="603674" cy="407900"/>
            </a:xfrm>
            <a:prstGeom prst="rect">
              <a:avLst/>
            </a:prstGeom>
            <a:noFill/>
          </p:spPr>
          <p:txBody>
            <a:bodyPr wrap="none" rtlCol="0">
              <a:spAutoFit/>
            </a:bodyPr>
            <a:lstStyle/>
            <a:p>
              <a:pPr algn="ctr"/>
              <a:r>
                <a:rPr lang="en-US" sz="1467">
                  <a:solidFill>
                    <a:srgbClr val="002A39"/>
                  </a:solidFill>
                  <a:latin typeface="Calibri" panose="020F0502020204030204" pitchFamily="34" charset="0"/>
                  <a:cs typeface="Calibri" panose="020F0502020204030204" pitchFamily="34" charset="0"/>
                </a:rPr>
                <a:t>Artwork</a:t>
              </a:r>
            </a:p>
            <a:p>
              <a:pPr algn="ctr"/>
              <a:r>
                <a:rPr lang="en-US" sz="1467">
                  <a:solidFill>
                    <a:srgbClr val="002A39"/>
                  </a:solidFill>
                  <a:latin typeface="Calibri" panose="020F0502020204030204" pitchFamily="34" charset="0"/>
                  <a:cs typeface="Calibri" panose="020F0502020204030204" pitchFamily="34" charset="0"/>
                </a:rPr>
                <a:t>Briefing</a:t>
              </a:r>
            </a:p>
          </p:txBody>
        </p:sp>
        <p:pic>
          <p:nvPicPr>
            <p:cNvPr id="20" name="Picture 19">
              <a:extLst>
                <a:ext uri="{FF2B5EF4-FFF2-40B4-BE49-F238E27FC236}">
                  <a16:creationId xmlns:a16="http://schemas.microsoft.com/office/drawing/2014/main" id="{B265D644-B165-0393-E815-61B4C0C0DF5E}"/>
                </a:ext>
              </a:extLst>
            </p:cNvPr>
            <p:cNvPicPr>
              <a:picLocks noChangeAspect="1"/>
            </p:cNvPicPr>
            <p:nvPr/>
          </p:nvPicPr>
          <p:blipFill>
            <a:blip r:embed="rId20"/>
            <a:stretch>
              <a:fillRect/>
            </a:stretch>
          </p:blipFill>
          <p:spPr>
            <a:xfrm>
              <a:off x="704315" y="2616498"/>
              <a:ext cx="450000" cy="600000"/>
            </a:xfrm>
            <a:prstGeom prst="rect">
              <a:avLst/>
            </a:prstGeom>
          </p:spPr>
        </p:pic>
      </p:grpSp>
      <p:sp>
        <p:nvSpPr>
          <p:cNvPr id="44" name="Rounded Rectangle 64">
            <a:extLst>
              <a:ext uri="{FF2B5EF4-FFF2-40B4-BE49-F238E27FC236}">
                <a16:creationId xmlns:a16="http://schemas.microsoft.com/office/drawing/2014/main" id="{5B7E682C-DE59-AA00-3616-B6FC7B206CED}"/>
              </a:ext>
            </a:extLst>
          </p:cNvPr>
          <p:cNvSpPr/>
          <p:nvPr/>
        </p:nvSpPr>
        <p:spPr>
          <a:xfrm>
            <a:off x="10124337" y="1676399"/>
            <a:ext cx="1790255" cy="4903092"/>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BE">
              <a:solidFill>
                <a:srgbClr val="FFFFFF"/>
              </a:solidFill>
              <a:latin typeface="Aptos" panose="02110004020202020204"/>
            </a:endParaRPr>
          </a:p>
        </p:txBody>
      </p:sp>
      <p:grpSp>
        <p:nvGrpSpPr>
          <p:cNvPr id="9" name="Group 8">
            <a:extLst>
              <a:ext uri="{FF2B5EF4-FFF2-40B4-BE49-F238E27FC236}">
                <a16:creationId xmlns:a16="http://schemas.microsoft.com/office/drawing/2014/main" id="{A904E150-4B2D-2D75-532A-350270D9C1A0}"/>
              </a:ext>
            </a:extLst>
          </p:cNvPr>
          <p:cNvGrpSpPr/>
          <p:nvPr/>
        </p:nvGrpSpPr>
        <p:grpSpPr>
          <a:xfrm>
            <a:off x="10418362" y="1798670"/>
            <a:ext cx="1202204" cy="4658551"/>
            <a:chOff x="10418362" y="1824510"/>
            <a:chExt cx="1202204" cy="4658551"/>
          </a:xfrm>
        </p:grpSpPr>
        <p:grpSp>
          <p:nvGrpSpPr>
            <p:cNvPr id="4" name="Group 3">
              <a:extLst>
                <a:ext uri="{FF2B5EF4-FFF2-40B4-BE49-F238E27FC236}">
                  <a16:creationId xmlns:a16="http://schemas.microsoft.com/office/drawing/2014/main" id="{D3A484E1-3AF6-6909-B290-54578BAA65D8}"/>
                </a:ext>
              </a:extLst>
            </p:cNvPr>
            <p:cNvGrpSpPr/>
            <p:nvPr/>
          </p:nvGrpSpPr>
          <p:grpSpPr>
            <a:xfrm>
              <a:off x="10418362" y="4366580"/>
              <a:ext cx="1202204" cy="973481"/>
              <a:chOff x="10369203" y="4366580"/>
              <a:chExt cx="1202204" cy="973481"/>
            </a:xfrm>
          </p:grpSpPr>
          <p:sp>
            <p:nvSpPr>
              <p:cNvPr id="14" name="Rounded Rectangle 45">
                <a:extLst>
                  <a:ext uri="{FF2B5EF4-FFF2-40B4-BE49-F238E27FC236}">
                    <a16:creationId xmlns:a16="http://schemas.microsoft.com/office/drawing/2014/main" id="{41ACFC2F-B191-1D47-0EC3-40C8C64C51C0}"/>
                  </a:ext>
                </a:extLst>
              </p:cNvPr>
              <p:cNvSpPr/>
              <p:nvPr/>
            </p:nvSpPr>
            <p:spPr>
              <a:xfrm>
                <a:off x="10369203" y="4366580"/>
                <a:ext cx="1202204" cy="973481"/>
              </a:xfrm>
              <a:prstGeom prst="roundRect">
                <a:avLst>
                  <a:gd name="adj" fmla="val 10435"/>
                </a:avLst>
              </a:prstGeom>
              <a:solidFill>
                <a:srgbClr val="F2F2F4"/>
              </a:solidFill>
              <a:ln>
                <a:solidFill>
                  <a:schemeClr val="accent5"/>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BE" sz="800">
                  <a:solidFill>
                    <a:srgbClr val="FFFFFF"/>
                  </a:solidFill>
                  <a:latin typeface="Arial" panose="020B0604020202020204" pitchFamily="34" charset="0"/>
                  <a:cs typeface="Arial" panose="020B0604020202020204" pitchFamily="34" charset="0"/>
                </a:endParaRPr>
              </a:p>
            </p:txBody>
          </p:sp>
          <p:sp>
            <p:nvSpPr>
              <p:cNvPr id="16" name="Rounded Rectangle 46">
                <a:extLst>
                  <a:ext uri="{FF2B5EF4-FFF2-40B4-BE49-F238E27FC236}">
                    <a16:creationId xmlns:a16="http://schemas.microsoft.com/office/drawing/2014/main" id="{B829D4F8-F054-AF48-1575-EA71DE80D216}"/>
                  </a:ext>
                </a:extLst>
              </p:cNvPr>
              <p:cNvSpPr/>
              <p:nvPr/>
            </p:nvSpPr>
            <p:spPr>
              <a:xfrm>
                <a:off x="10472473" y="4714200"/>
                <a:ext cx="1007635" cy="238291"/>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US" sz="800">
                    <a:solidFill>
                      <a:srgbClr val="FFFFFF"/>
                    </a:solidFill>
                    <a:latin typeface="TT Commons Pro" panose="020B0103030102020204" pitchFamily="34" charset="77"/>
                    <a:ea typeface="+mn-lt"/>
                    <a:cs typeface="Arial"/>
                  </a:rPr>
                  <a:t>FDA</a:t>
                </a:r>
                <a:endParaRPr lang="en-US" sz="800">
                  <a:solidFill>
                    <a:srgbClr val="000000"/>
                  </a:solidFill>
                  <a:latin typeface="TT Commons Pro" panose="020B0103030102020204" pitchFamily="34" charset="77"/>
                  <a:ea typeface="+mn-lt"/>
                  <a:cs typeface="Arial" panose="020B0604020202020204" pitchFamily="34" charset="0"/>
                </a:endParaRPr>
              </a:p>
            </p:txBody>
          </p:sp>
          <p:sp>
            <p:nvSpPr>
              <p:cNvPr id="18" name="Rounded Rectangle 47">
                <a:extLst>
                  <a:ext uri="{FF2B5EF4-FFF2-40B4-BE49-F238E27FC236}">
                    <a16:creationId xmlns:a16="http://schemas.microsoft.com/office/drawing/2014/main" id="{BA831314-AF77-B090-8F39-824D90C16A8B}"/>
                  </a:ext>
                </a:extLst>
              </p:cNvPr>
              <p:cNvSpPr/>
              <p:nvPr/>
            </p:nvSpPr>
            <p:spPr>
              <a:xfrm>
                <a:off x="10472473" y="4989508"/>
                <a:ext cx="1007635" cy="238291"/>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BE" sz="800">
                    <a:solidFill>
                      <a:srgbClr val="FFFFFF"/>
                    </a:solidFill>
                    <a:latin typeface="TT Commons Pro" panose="020B0103030102020204" pitchFamily="34" charset="77"/>
                    <a:cs typeface="Arial"/>
                  </a:rPr>
                  <a:t>Other </a:t>
                </a:r>
                <a:r>
                  <a:rPr lang="en-US" sz="800">
                    <a:solidFill>
                      <a:srgbClr val="FFFFFF"/>
                    </a:solidFill>
                    <a:latin typeface="TT Commons Pro" panose="020B0103030102020204" pitchFamily="34" charset="77"/>
                    <a:cs typeface="Arial"/>
                  </a:rPr>
                  <a:t>R</a:t>
                </a:r>
                <a:r>
                  <a:rPr lang="en-BE" sz="800">
                    <a:solidFill>
                      <a:srgbClr val="FFFFFF"/>
                    </a:solidFill>
                    <a:latin typeface="TT Commons Pro" panose="020B0103030102020204" pitchFamily="34" charset="77"/>
                    <a:cs typeface="Arial"/>
                  </a:rPr>
                  <a:t>eg.</a:t>
                </a:r>
                <a:endParaRPr lang="en-US" sz="2400">
                  <a:latin typeface="TT Commons Pro" panose="020B0103030102020204" pitchFamily="34" charset="77"/>
                </a:endParaRPr>
              </a:p>
            </p:txBody>
          </p:sp>
          <p:sp>
            <p:nvSpPr>
              <p:cNvPr id="21" name="TextBox 20">
                <a:extLst>
                  <a:ext uri="{FF2B5EF4-FFF2-40B4-BE49-F238E27FC236}">
                    <a16:creationId xmlns:a16="http://schemas.microsoft.com/office/drawing/2014/main" id="{91B0A621-6810-C309-2823-C738A4E5A096}"/>
                  </a:ext>
                </a:extLst>
              </p:cNvPr>
              <p:cNvSpPr txBox="1"/>
              <p:nvPr/>
            </p:nvSpPr>
            <p:spPr>
              <a:xfrm>
                <a:off x="10430885" y="4413990"/>
                <a:ext cx="1083017" cy="266676"/>
              </a:xfrm>
              <a:prstGeom prst="rect">
                <a:avLst/>
              </a:prstGeom>
              <a:noFill/>
            </p:spPr>
            <p:txBody>
              <a:bodyPr wrap="square" lIns="121920" tIns="60960" rIns="121920" bIns="60960" anchor="t">
                <a:spAutoFit/>
              </a:bodyPr>
              <a:lstStyle/>
              <a:p>
                <a:pPr algn="ctr" defTabSz="914377"/>
                <a:r>
                  <a:rPr lang="en-BE" sz="933" b="1" i="1">
                    <a:solidFill>
                      <a:srgbClr val="444B53"/>
                    </a:solidFill>
                    <a:latin typeface="Arial"/>
                    <a:cs typeface="Arial"/>
                  </a:rPr>
                  <a:t>Regulatory</a:t>
                </a:r>
                <a:endParaRPr lang="en-US" sz="2400" i="1">
                  <a:ea typeface="Verdana"/>
                </a:endParaRPr>
              </a:p>
            </p:txBody>
          </p:sp>
        </p:grpSp>
        <p:grpSp>
          <p:nvGrpSpPr>
            <p:cNvPr id="2" name="Group 1">
              <a:extLst>
                <a:ext uri="{FF2B5EF4-FFF2-40B4-BE49-F238E27FC236}">
                  <a16:creationId xmlns:a16="http://schemas.microsoft.com/office/drawing/2014/main" id="{946598B1-CEAC-1E41-01E8-DDD3982640B1}"/>
                </a:ext>
              </a:extLst>
            </p:cNvPr>
            <p:cNvGrpSpPr/>
            <p:nvPr/>
          </p:nvGrpSpPr>
          <p:grpSpPr>
            <a:xfrm>
              <a:off x="10418362" y="1824510"/>
              <a:ext cx="1202204" cy="2286212"/>
              <a:chOff x="10369203" y="1824510"/>
              <a:chExt cx="1202204" cy="2286212"/>
            </a:xfrm>
          </p:grpSpPr>
          <p:sp>
            <p:nvSpPr>
              <p:cNvPr id="23" name="Rounded Rectangle 49">
                <a:extLst>
                  <a:ext uri="{FF2B5EF4-FFF2-40B4-BE49-F238E27FC236}">
                    <a16:creationId xmlns:a16="http://schemas.microsoft.com/office/drawing/2014/main" id="{7540628E-BCB4-C8AC-5D0E-CC00969BF2C9}"/>
                  </a:ext>
                </a:extLst>
              </p:cNvPr>
              <p:cNvSpPr/>
              <p:nvPr/>
            </p:nvSpPr>
            <p:spPr>
              <a:xfrm>
                <a:off x="10371613" y="1824510"/>
                <a:ext cx="1196595" cy="2286212"/>
              </a:xfrm>
              <a:prstGeom prst="roundRect">
                <a:avLst>
                  <a:gd name="adj" fmla="val 10435"/>
                </a:avLst>
              </a:prstGeom>
              <a:solidFill>
                <a:srgbClr val="F2F2F4"/>
              </a:solidFill>
              <a:ln>
                <a:solidFill>
                  <a:schemeClr val="tx2">
                    <a:lumMod val="60000"/>
                    <a:lumOff val="40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121920" tIns="60960" rIns="121920" bIns="60960" rtlCol="0" anchor="ctr"/>
              <a:lstStyle/>
              <a:p>
                <a:pPr algn="ctr" defTabSz="914377"/>
                <a:r>
                  <a:rPr lang="en-BE" sz="800">
                    <a:solidFill>
                      <a:srgbClr val="FFFFFF"/>
                    </a:solidFill>
                    <a:latin typeface="Arial" panose="020B0604020202020204" pitchFamily="34" charset="0"/>
                    <a:cs typeface="Arial" panose="020B0604020202020204" pitchFamily="34" charset="0"/>
                  </a:rPr>
                  <a:t>L</a:t>
                </a:r>
                <a:endParaRPr lang="en-US" sz="2400"/>
              </a:p>
            </p:txBody>
          </p:sp>
          <p:sp>
            <p:nvSpPr>
              <p:cNvPr id="7" name="Rounded Rectangle 39">
                <a:extLst>
                  <a:ext uri="{FF2B5EF4-FFF2-40B4-BE49-F238E27FC236}">
                    <a16:creationId xmlns:a16="http://schemas.microsoft.com/office/drawing/2014/main" id="{69708A5E-DF14-D3A1-F695-3332262D2735}"/>
                  </a:ext>
                </a:extLst>
              </p:cNvPr>
              <p:cNvSpPr/>
              <p:nvPr/>
            </p:nvSpPr>
            <p:spPr>
              <a:xfrm>
                <a:off x="10472473" y="3073348"/>
                <a:ext cx="1007635" cy="238291"/>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US" sz="800">
                    <a:solidFill>
                      <a:srgbClr val="FFFFFF"/>
                    </a:solidFill>
                    <a:latin typeface="TT Commons Pro" panose="020B0103030102020204" pitchFamily="34" charset="77"/>
                    <a:ea typeface="+mn-lt"/>
                    <a:cs typeface="Arial"/>
                  </a:rPr>
                  <a:t>NFT</a:t>
                </a:r>
                <a:endParaRPr lang="en-US" sz="800">
                  <a:solidFill>
                    <a:srgbClr val="000000"/>
                  </a:solidFill>
                  <a:latin typeface="TT Commons Pro" panose="020B0103030102020204" pitchFamily="34" charset="77"/>
                  <a:ea typeface="+mn-lt"/>
                  <a:cs typeface="Arial" panose="020B0604020202020204" pitchFamily="34" charset="0"/>
                </a:endParaRPr>
              </a:p>
            </p:txBody>
          </p:sp>
          <p:sp>
            <p:nvSpPr>
              <p:cNvPr id="25" name="Rounded Rectangle 51">
                <a:extLst>
                  <a:ext uri="{FF2B5EF4-FFF2-40B4-BE49-F238E27FC236}">
                    <a16:creationId xmlns:a16="http://schemas.microsoft.com/office/drawing/2014/main" id="{A3BEE846-806C-0904-F462-5CC7759213BF}"/>
                  </a:ext>
                </a:extLst>
              </p:cNvPr>
              <p:cNvSpPr/>
              <p:nvPr/>
            </p:nvSpPr>
            <p:spPr>
              <a:xfrm>
                <a:off x="10472473" y="2469125"/>
                <a:ext cx="1007635" cy="238291"/>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BE" sz="800">
                    <a:solidFill>
                      <a:srgbClr val="FFFFFF"/>
                    </a:solidFill>
                    <a:latin typeface="TT Commons Pro" panose="020B0103030102020204" pitchFamily="34" charset="77"/>
                    <a:cs typeface="Arial"/>
                  </a:rPr>
                  <a:t>Barcodes</a:t>
                </a:r>
                <a:endParaRPr lang="en-BE" sz="800">
                  <a:solidFill>
                    <a:srgbClr val="FFFFFF"/>
                  </a:solidFill>
                  <a:latin typeface="TT Commons Pro" panose="020B0103030102020204" pitchFamily="34" charset="77"/>
                  <a:cs typeface="Arial" panose="020B0604020202020204" pitchFamily="34" charset="0"/>
                </a:endParaRPr>
              </a:p>
            </p:txBody>
          </p:sp>
          <p:sp>
            <p:nvSpPr>
              <p:cNvPr id="27" name="Rounded Rectangle 52">
                <a:extLst>
                  <a:ext uri="{FF2B5EF4-FFF2-40B4-BE49-F238E27FC236}">
                    <a16:creationId xmlns:a16="http://schemas.microsoft.com/office/drawing/2014/main" id="{4D0060B8-FF2E-0699-7827-022E8F589F41}"/>
                  </a:ext>
                </a:extLst>
              </p:cNvPr>
              <p:cNvSpPr/>
              <p:nvPr/>
            </p:nvSpPr>
            <p:spPr>
              <a:xfrm>
                <a:off x="10472473" y="2744437"/>
                <a:ext cx="1007635" cy="238291"/>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BE" sz="800">
                    <a:solidFill>
                      <a:srgbClr val="FFFFFF"/>
                    </a:solidFill>
                    <a:latin typeface="TT Commons Pro" panose="020B0103030102020204" pitchFamily="34" charset="77"/>
                    <a:cs typeface="Arial"/>
                  </a:rPr>
                  <a:t>Logos</a:t>
                </a:r>
                <a:endParaRPr lang="en-US" sz="2400">
                  <a:latin typeface="TT Commons Pro" panose="020B0103030102020204" pitchFamily="34" charset="77"/>
                </a:endParaRPr>
              </a:p>
            </p:txBody>
          </p:sp>
          <p:sp>
            <p:nvSpPr>
              <p:cNvPr id="29" name="TextBox 28">
                <a:extLst>
                  <a:ext uri="{FF2B5EF4-FFF2-40B4-BE49-F238E27FC236}">
                    <a16:creationId xmlns:a16="http://schemas.microsoft.com/office/drawing/2014/main" id="{CE89D380-9C3A-0A57-80E5-6AAA3E88C2A8}"/>
                  </a:ext>
                </a:extLst>
              </p:cNvPr>
              <p:cNvSpPr txBox="1"/>
              <p:nvPr/>
            </p:nvSpPr>
            <p:spPr>
              <a:xfrm>
                <a:off x="10369203" y="1881965"/>
                <a:ext cx="1202204" cy="266676"/>
              </a:xfrm>
              <a:prstGeom prst="rect">
                <a:avLst/>
              </a:prstGeom>
              <a:noFill/>
            </p:spPr>
            <p:txBody>
              <a:bodyPr wrap="square" lIns="121920" tIns="60960" rIns="121920" bIns="60960" anchor="t">
                <a:spAutoFit/>
              </a:bodyPr>
              <a:lstStyle/>
              <a:p>
                <a:pPr algn="ctr" defTabSz="914377"/>
                <a:r>
                  <a:rPr lang="en-BE" sz="933" b="1">
                    <a:solidFill>
                      <a:srgbClr val="444B53"/>
                    </a:solidFill>
                    <a:latin typeface="Arial"/>
                    <a:cs typeface="Arial"/>
                  </a:rPr>
                  <a:t>Content</a:t>
                </a:r>
                <a:endParaRPr lang="en-BE" sz="933" b="1">
                  <a:solidFill>
                    <a:srgbClr val="444B53"/>
                  </a:solidFill>
                  <a:latin typeface="Arial" panose="020B0604020202020204" pitchFamily="34" charset="0"/>
                  <a:cs typeface="Arial" panose="020B0604020202020204" pitchFamily="34" charset="0"/>
                </a:endParaRPr>
              </a:p>
            </p:txBody>
          </p:sp>
          <p:sp>
            <p:nvSpPr>
              <p:cNvPr id="31" name="Rounded Rectangle 59">
                <a:extLst>
                  <a:ext uri="{FF2B5EF4-FFF2-40B4-BE49-F238E27FC236}">
                    <a16:creationId xmlns:a16="http://schemas.microsoft.com/office/drawing/2014/main" id="{2132BC4E-26B7-12CA-D56C-07C8A59EA755}"/>
                  </a:ext>
                </a:extLst>
              </p:cNvPr>
              <p:cNvSpPr/>
              <p:nvPr/>
            </p:nvSpPr>
            <p:spPr>
              <a:xfrm>
                <a:off x="10472473" y="2167151"/>
                <a:ext cx="1007635" cy="238291"/>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BE" sz="800">
                    <a:solidFill>
                      <a:srgbClr val="FFFFFF"/>
                    </a:solidFill>
                    <a:latin typeface="TT Commons Pro" panose="020B0103030102020204" pitchFamily="34" charset="77"/>
                    <a:cs typeface="Arial"/>
                  </a:rPr>
                  <a:t>Text (Statements)</a:t>
                </a:r>
                <a:endParaRPr lang="en-BE" sz="800">
                  <a:solidFill>
                    <a:srgbClr val="FFFFFF"/>
                  </a:solidFill>
                  <a:latin typeface="TT Commons Pro" panose="020B0103030102020204" pitchFamily="34" charset="77"/>
                  <a:cs typeface="Arial" panose="020B0604020202020204" pitchFamily="34" charset="0"/>
                </a:endParaRPr>
              </a:p>
            </p:txBody>
          </p:sp>
          <p:sp>
            <p:nvSpPr>
              <p:cNvPr id="48" name="Rounded Rectangle 39">
                <a:extLst>
                  <a:ext uri="{FF2B5EF4-FFF2-40B4-BE49-F238E27FC236}">
                    <a16:creationId xmlns:a16="http://schemas.microsoft.com/office/drawing/2014/main" id="{460C3424-B3EE-324B-6F7C-A94681EE57C7}"/>
                  </a:ext>
                </a:extLst>
              </p:cNvPr>
              <p:cNvSpPr/>
              <p:nvPr/>
            </p:nvSpPr>
            <p:spPr>
              <a:xfrm>
                <a:off x="10472473" y="3371799"/>
                <a:ext cx="1007635" cy="238291"/>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US" sz="800">
                    <a:solidFill>
                      <a:srgbClr val="FFFFFF"/>
                    </a:solidFill>
                    <a:latin typeface="TT Commons Pro" panose="020B0103030102020204" pitchFamily="34" charset="77"/>
                    <a:ea typeface="+mn-lt"/>
                    <a:cs typeface="Arial"/>
                  </a:rPr>
                  <a:t>Spell</a:t>
                </a:r>
                <a:endParaRPr lang="en-US" sz="800">
                  <a:solidFill>
                    <a:srgbClr val="000000"/>
                  </a:solidFill>
                  <a:latin typeface="TT Commons Pro" panose="020B0103030102020204" pitchFamily="34" charset="77"/>
                  <a:ea typeface="+mn-lt"/>
                  <a:cs typeface="Arial" panose="020B0604020202020204" pitchFamily="34" charset="0"/>
                </a:endParaRPr>
              </a:p>
            </p:txBody>
          </p:sp>
          <p:sp>
            <p:nvSpPr>
              <p:cNvPr id="50" name="Rounded Rectangle 39">
                <a:extLst>
                  <a:ext uri="{FF2B5EF4-FFF2-40B4-BE49-F238E27FC236}">
                    <a16:creationId xmlns:a16="http://schemas.microsoft.com/office/drawing/2014/main" id="{9FBADC98-774D-2FD8-5ECB-B88C48C183FB}"/>
                  </a:ext>
                </a:extLst>
              </p:cNvPr>
              <p:cNvSpPr/>
              <p:nvPr/>
            </p:nvSpPr>
            <p:spPr>
              <a:xfrm>
                <a:off x="10472473" y="3663899"/>
                <a:ext cx="1007635" cy="238291"/>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US" sz="800">
                    <a:solidFill>
                      <a:srgbClr val="FFFFFF"/>
                    </a:solidFill>
                    <a:latin typeface="TT Commons Pro" panose="020B0103030102020204" pitchFamily="34" charset="77"/>
                    <a:ea typeface="+mn-lt"/>
                    <a:cs typeface="Arial"/>
                  </a:rPr>
                  <a:t>Font</a:t>
                </a:r>
                <a:endParaRPr lang="en-US" sz="2400">
                  <a:latin typeface="TT Commons Pro" panose="020B0103030102020204" pitchFamily="34" charset="77"/>
                </a:endParaRPr>
              </a:p>
            </p:txBody>
          </p:sp>
        </p:grpSp>
        <p:grpSp>
          <p:nvGrpSpPr>
            <p:cNvPr id="6" name="Group 5">
              <a:extLst>
                <a:ext uri="{FF2B5EF4-FFF2-40B4-BE49-F238E27FC236}">
                  <a16:creationId xmlns:a16="http://schemas.microsoft.com/office/drawing/2014/main" id="{256C384E-52D3-D9EC-8042-7193E3A01818}"/>
                </a:ext>
              </a:extLst>
            </p:cNvPr>
            <p:cNvGrpSpPr/>
            <p:nvPr/>
          </p:nvGrpSpPr>
          <p:grpSpPr>
            <a:xfrm>
              <a:off x="10418362" y="5509580"/>
              <a:ext cx="1202204" cy="973481"/>
              <a:chOff x="10407303" y="5509580"/>
              <a:chExt cx="1202204" cy="973481"/>
            </a:xfrm>
          </p:grpSpPr>
          <p:sp>
            <p:nvSpPr>
              <p:cNvPr id="52" name="Rounded Rectangle 45">
                <a:extLst>
                  <a:ext uri="{FF2B5EF4-FFF2-40B4-BE49-F238E27FC236}">
                    <a16:creationId xmlns:a16="http://schemas.microsoft.com/office/drawing/2014/main" id="{3408F9C6-CC68-D2A4-9E7B-D44888D2BC76}"/>
                  </a:ext>
                </a:extLst>
              </p:cNvPr>
              <p:cNvSpPr/>
              <p:nvPr/>
            </p:nvSpPr>
            <p:spPr>
              <a:xfrm>
                <a:off x="10407303" y="5509580"/>
                <a:ext cx="1202204" cy="973481"/>
              </a:xfrm>
              <a:prstGeom prst="roundRect">
                <a:avLst>
                  <a:gd name="adj" fmla="val 10435"/>
                </a:avLst>
              </a:prstGeom>
              <a:solidFill>
                <a:srgbClr val="F2F2F4"/>
              </a:solidFill>
              <a:ln>
                <a:solidFill>
                  <a:schemeClr val="accent5"/>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BE" sz="800">
                  <a:solidFill>
                    <a:srgbClr val="FFFFFF"/>
                  </a:solidFill>
                  <a:latin typeface="Arial" panose="020B0604020202020204" pitchFamily="34" charset="0"/>
                  <a:cs typeface="Arial" panose="020B0604020202020204" pitchFamily="34" charset="0"/>
                </a:endParaRPr>
              </a:p>
            </p:txBody>
          </p:sp>
          <p:sp>
            <p:nvSpPr>
              <p:cNvPr id="54" name="Rounded Rectangle 46">
                <a:extLst>
                  <a:ext uri="{FF2B5EF4-FFF2-40B4-BE49-F238E27FC236}">
                    <a16:creationId xmlns:a16="http://schemas.microsoft.com/office/drawing/2014/main" id="{51D8B4AC-7537-546C-758C-3398817E3AE4}"/>
                  </a:ext>
                </a:extLst>
              </p:cNvPr>
              <p:cNvSpPr/>
              <p:nvPr/>
            </p:nvSpPr>
            <p:spPr>
              <a:xfrm>
                <a:off x="10510573" y="5813003"/>
                <a:ext cx="1007635" cy="238291"/>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US" sz="800">
                    <a:solidFill>
                      <a:srgbClr val="FFFFFF"/>
                    </a:solidFill>
                    <a:latin typeface="TT Commons Pro" panose="020B0103030102020204" pitchFamily="34" charset="77"/>
                    <a:ea typeface="+mn-lt"/>
                    <a:cs typeface="Arial"/>
                  </a:rPr>
                  <a:t>Image Resolution</a:t>
                </a:r>
                <a:endParaRPr lang="en-US" sz="2400">
                  <a:latin typeface="TT Commons Pro" panose="020B0103030102020204" pitchFamily="34" charset="77"/>
                </a:endParaRPr>
              </a:p>
            </p:txBody>
          </p:sp>
          <p:sp>
            <p:nvSpPr>
              <p:cNvPr id="57" name="Rounded Rectangle 47">
                <a:extLst>
                  <a:ext uri="{FF2B5EF4-FFF2-40B4-BE49-F238E27FC236}">
                    <a16:creationId xmlns:a16="http://schemas.microsoft.com/office/drawing/2014/main" id="{B774E943-0C48-6C35-26AE-BC7E2146B077}"/>
                  </a:ext>
                </a:extLst>
              </p:cNvPr>
              <p:cNvSpPr/>
              <p:nvPr/>
            </p:nvSpPr>
            <p:spPr>
              <a:xfrm>
                <a:off x="10510573" y="6088311"/>
                <a:ext cx="1007635" cy="326770"/>
              </a:xfrm>
              <a:prstGeom prst="round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BE" sz="800">
                    <a:solidFill>
                      <a:srgbClr val="FFFFFF"/>
                    </a:solidFill>
                    <a:latin typeface="TT Commons Pro" panose="020B0103030102020204" pitchFamily="34" charset="77"/>
                    <a:cs typeface="Arial"/>
                  </a:rPr>
                  <a:t>Other </a:t>
                </a:r>
                <a:r>
                  <a:rPr lang="en-US" sz="800">
                    <a:solidFill>
                      <a:srgbClr val="FFFFFF"/>
                    </a:solidFill>
                    <a:latin typeface="TT Commons Pro" panose="020B0103030102020204" pitchFamily="34" charset="77"/>
                    <a:cs typeface="Arial"/>
                  </a:rPr>
                  <a:t>P</a:t>
                </a:r>
                <a:r>
                  <a:rPr lang="en-BE" sz="800">
                    <a:solidFill>
                      <a:srgbClr val="FFFFFF"/>
                    </a:solidFill>
                    <a:latin typeface="TT Commons Pro" panose="020B0103030102020204" pitchFamily="34" charset="77"/>
                    <a:cs typeface="Arial"/>
                  </a:rPr>
                  <a:t>rint </a:t>
                </a:r>
                <a:r>
                  <a:rPr lang="en-US" sz="800">
                    <a:solidFill>
                      <a:srgbClr val="FFFFFF"/>
                    </a:solidFill>
                    <a:latin typeface="TT Commons Pro" panose="020B0103030102020204" pitchFamily="34" charset="77"/>
                    <a:cs typeface="Arial"/>
                  </a:rPr>
                  <a:t>R</a:t>
                </a:r>
                <a:r>
                  <a:rPr lang="en-BE" sz="800">
                    <a:solidFill>
                      <a:srgbClr val="FFFFFF"/>
                    </a:solidFill>
                    <a:latin typeface="TT Commons Pro" panose="020B0103030102020204" pitchFamily="34" charset="77"/>
                    <a:cs typeface="Arial"/>
                  </a:rPr>
                  <a:t>eadiness </a:t>
                </a:r>
                <a:r>
                  <a:rPr lang="en-US" sz="800">
                    <a:solidFill>
                      <a:srgbClr val="FFFFFF"/>
                    </a:solidFill>
                    <a:latin typeface="TT Commons Pro" panose="020B0103030102020204" pitchFamily="34" charset="77"/>
                    <a:cs typeface="Arial"/>
                  </a:rPr>
                  <a:t>C</a:t>
                </a:r>
                <a:r>
                  <a:rPr lang="en-BE" sz="800">
                    <a:solidFill>
                      <a:srgbClr val="FFFFFF"/>
                    </a:solidFill>
                    <a:latin typeface="TT Commons Pro" panose="020B0103030102020204" pitchFamily="34" charset="77"/>
                    <a:cs typeface="Arial"/>
                  </a:rPr>
                  <a:t>hecks</a:t>
                </a:r>
                <a:endParaRPr lang="en-US" sz="2400">
                  <a:latin typeface="TT Commons Pro" panose="020B0103030102020204" pitchFamily="34" charset="77"/>
                </a:endParaRPr>
              </a:p>
            </p:txBody>
          </p:sp>
          <p:sp>
            <p:nvSpPr>
              <p:cNvPr id="59" name="TextBox 58">
                <a:extLst>
                  <a:ext uri="{FF2B5EF4-FFF2-40B4-BE49-F238E27FC236}">
                    <a16:creationId xmlns:a16="http://schemas.microsoft.com/office/drawing/2014/main" id="{1B818CFB-F97A-2333-B299-B28D090A6260}"/>
                  </a:ext>
                </a:extLst>
              </p:cNvPr>
              <p:cNvSpPr txBox="1"/>
              <p:nvPr/>
            </p:nvSpPr>
            <p:spPr>
              <a:xfrm>
                <a:off x="10468985" y="5546327"/>
                <a:ext cx="1083017" cy="266676"/>
              </a:xfrm>
              <a:prstGeom prst="rect">
                <a:avLst/>
              </a:prstGeom>
              <a:noFill/>
            </p:spPr>
            <p:txBody>
              <a:bodyPr wrap="square" lIns="121920" tIns="60960" rIns="121920" bIns="60960" anchor="t">
                <a:spAutoFit/>
              </a:bodyPr>
              <a:lstStyle/>
              <a:p>
                <a:pPr algn="ctr" defTabSz="914377"/>
                <a:r>
                  <a:rPr lang="en-BE" sz="933" b="1" i="1">
                    <a:solidFill>
                      <a:srgbClr val="444B53"/>
                    </a:solidFill>
                    <a:latin typeface="Arial"/>
                    <a:cs typeface="Arial"/>
                  </a:rPr>
                  <a:t>Print</a:t>
                </a:r>
                <a:endParaRPr lang="en-US" sz="2400" i="1">
                  <a:ea typeface="Verdana"/>
                </a:endParaRPr>
              </a:p>
            </p:txBody>
          </p:sp>
        </p:grpSp>
      </p:grpSp>
    </p:spTree>
    <p:extLst>
      <p:ext uri="{BB962C8B-B14F-4D97-AF65-F5344CB8AC3E}">
        <p14:creationId xmlns:p14="http://schemas.microsoft.com/office/powerpoint/2010/main" val="2837353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0">
              <a:srgbClr val="576575"/>
            </a:gs>
            <a:gs pos="100000">
              <a:srgbClr val="303336"/>
            </a:gs>
          </a:gsLst>
          <a:lin ang="7200000" scaled="0"/>
        </a:gradFill>
        <a:effectLst/>
      </p:bgPr>
    </p:bg>
    <p:spTree>
      <p:nvGrpSpPr>
        <p:cNvPr id="1" name="">
          <a:extLst>
            <a:ext uri="{FF2B5EF4-FFF2-40B4-BE49-F238E27FC236}">
              <a16:creationId xmlns:a16="http://schemas.microsoft.com/office/drawing/2014/main" id="{4F54B170-82EC-A45E-9D65-CD21ACD95694}"/>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C4DA0023-249A-61A8-EEF5-9EDC102B2756}"/>
              </a:ext>
            </a:extLst>
          </p:cNvPr>
          <p:cNvSpPr txBox="1">
            <a:spLocks/>
          </p:cNvSpPr>
          <p:nvPr/>
        </p:nvSpPr>
        <p:spPr>
          <a:xfrm>
            <a:off x="365759" y="382864"/>
            <a:ext cx="10030098" cy="73701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800" b="1" i="0" kern="1200">
                <a:solidFill>
                  <a:schemeClr val="tx2"/>
                </a:solidFill>
                <a:latin typeface="Tiempos Headline Semibold" panose="02020703060303060403" pitchFamily="18" charset="77"/>
                <a:ea typeface="+mj-ea"/>
                <a:cs typeface="Times New Roman" panose="02020603050405020304" pitchFamily="18" charset="0"/>
              </a:defRPr>
            </a:lvl1pPr>
          </a:lstStyle>
          <a:p>
            <a:r>
              <a:rPr lang="en-US">
                <a:solidFill>
                  <a:schemeClr val="bg1"/>
                </a:solidFill>
              </a:rPr>
              <a:t>AI Assistance Examples</a:t>
            </a:r>
          </a:p>
        </p:txBody>
      </p:sp>
      <p:pic>
        <p:nvPicPr>
          <p:cNvPr id="16" name="Picture 15">
            <a:extLst>
              <a:ext uri="{FF2B5EF4-FFF2-40B4-BE49-F238E27FC236}">
                <a16:creationId xmlns:a16="http://schemas.microsoft.com/office/drawing/2014/main" id="{19001659-015D-392A-7C43-2BAAC5D224A7}"/>
              </a:ext>
            </a:extLst>
          </p:cNvPr>
          <p:cNvPicPr>
            <a:picLocks noChangeAspect="1"/>
          </p:cNvPicPr>
          <p:nvPr/>
        </p:nvPicPr>
        <p:blipFill>
          <a:blip r:embed="rId3"/>
          <a:srcRect/>
          <a:stretch/>
        </p:blipFill>
        <p:spPr>
          <a:xfrm>
            <a:off x="2733110" y="3130338"/>
            <a:ext cx="2546206" cy="1841937"/>
          </a:xfrm>
          <a:prstGeom prst="rect">
            <a:avLst/>
          </a:prstGeom>
          <a:noFill/>
          <a:scene3d>
            <a:camera prst="isometricOffAxis1Left">
              <a:rot lat="1080000" lon="1800000" rev="0"/>
            </a:camera>
            <a:lightRig rig="threePt" dir="t"/>
          </a:scene3d>
          <a:sp3d/>
        </p:spPr>
      </p:pic>
      <p:sp>
        <p:nvSpPr>
          <p:cNvPr id="15" name="Triangle 14">
            <a:extLst>
              <a:ext uri="{FF2B5EF4-FFF2-40B4-BE49-F238E27FC236}">
                <a16:creationId xmlns:a16="http://schemas.microsoft.com/office/drawing/2014/main" id="{1C00BB54-4E10-BCA8-F6D9-D5483EBEF1BB}"/>
              </a:ext>
            </a:extLst>
          </p:cNvPr>
          <p:cNvSpPr/>
          <p:nvPr/>
        </p:nvSpPr>
        <p:spPr>
          <a:xfrm rot="5400000" flipH="1" flipV="1">
            <a:off x="1832079" y="2800360"/>
            <a:ext cx="1739216" cy="2399170"/>
          </a:xfrm>
          <a:prstGeom prst="triangle">
            <a:avLst>
              <a:gd name="adj" fmla="val 65117"/>
            </a:avLst>
          </a:prstGeom>
          <a:solidFill>
            <a:schemeClr val="bg1">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srgbClr val="FFFFFF"/>
              </a:solidFill>
              <a:effectLst/>
              <a:uLnTx/>
              <a:uFillTx/>
              <a:latin typeface="TT Commons Pro" panose="020B0103030102020204" pitchFamily="34" charset="77"/>
              <a:ea typeface="+mn-ea"/>
              <a:cs typeface="+mn-cs"/>
            </a:endParaRPr>
          </a:p>
        </p:txBody>
      </p:sp>
      <p:pic>
        <p:nvPicPr>
          <p:cNvPr id="12" name="Picture 11" descr="A blue and green eye with a black circle and blue lights&#10;&#10;Description automatically generated with medium confidence">
            <a:extLst>
              <a:ext uri="{FF2B5EF4-FFF2-40B4-BE49-F238E27FC236}">
                <a16:creationId xmlns:a16="http://schemas.microsoft.com/office/drawing/2014/main" id="{D5A018C5-550D-EB44-BEC2-6BC3F6DD68D4}"/>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961" b="89941" l="7031" r="89941">
                        <a14:foregroundMark x1="8301" y1="62891" x2="5859" y2="53809"/>
                        <a14:foregroundMark x1="5859" y1="53809" x2="7031" y2="35059"/>
                        <a14:foregroundMark x1="7031" y1="35059" x2="12402" y2="29590"/>
                        <a14:backgroundMark x1="13184" y1="77637" x2="19727" y2="82129"/>
                      </a14:backgroundRemoval>
                    </a14:imgEffect>
                  </a14:imgLayer>
                </a14:imgProps>
              </a:ext>
            </a:extLst>
          </a:blip>
          <a:stretch>
            <a:fillRect/>
          </a:stretch>
        </p:blipFill>
        <p:spPr>
          <a:xfrm>
            <a:off x="742170" y="3130338"/>
            <a:ext cx="1541557" cy="1541557"/>
          </a:xfrm>
          <a:prstGeom prst="rect">
            <a:avLst/>
          </a:prstGeom>
          <a:effectLst>
            <a:outerShdw blurRad="218003" dist="38100" dir="8100000" sx="102000" sy="102000" algn="tr" rotWithShape="0">
              <a:schemeClr val="bg1">
                <a:alpha val="24752"/>
              </a:schemeClr>
            </a:outerShdw>
          </a:effectLst>
        </p:spPr>
      </p:pic>
      <p:sp>
        <p:nvSpPr>
          <p:cNvPr id="10" name="TextBox 9">
            <a:extLst>
              <a:ext uri="{FF2B5EF4-FFF2-40B4-BE49-F238E27FC236}">
                <a16:creationId xmlns:a16="http://schemas.microsoft.com/office/drawing/2014/main" id="{66CD541D-4159-4CA6-8F47-E1AEC6528256}"/>
              </a:ext>
            </a:extLst>
          </p:cNvPr>
          <p:cNvSpPr txBox="1"/>
          <p:nvPr/>
        </p:nvSpPr>
        <p:spPr>
          <a:xfrm>
            <a:off x="742170" y="1826220"/>
            <a:ext cx="4903256" cy="523220"/>
          </a:xfrm>
          <a:prstGeom prst="rect">
            <a:avLst/>
          </a:prstGeom>
          <a:noFill/>
        </p:spPr>
        <p:txBody>
          <a:bodyPr wrap="square" rtlCol="0">
            <a:spAutoFit/>
          </a:bodyPr>
          <a:lstStyle/>
          <a:p>
            <a:pPr algn="ctr"/>
            <a:r>
              <a:rPr lang="en-US" sz="2800" b="1">
                <a:solidFill>
                  <a:schemeClr val="bg1"/>
                </a:solidFill>
                <a:latin typeface="TT Commons Pro" panose="020B0103030102020204" pitchFamily="34" charset="77"/>
              </a:rPr>
              <a:t>Compliance Checks</a:t>
            </a:r>
          </a:p>
        </p:txBody>
      </p:sp>
      <p:sp>
        <p:nvSpPr>
          <p:cNvPr id="11" name="TextBox 10">
            <a:extLst>
              <a:ext uri="{FF2B5EF4-FFF2-40B4-BE49-F238E27FC236}">
                <a16:creationId xmlns:a16="http://schemas.microsoft.com/office/drawing/2014/main" id="{664F49FB-44E4-2D0B-011C-1FBACEB13F79}"/>
              </a:ext>
            </a:extLst>
          </p:cNvPr>
          <p:cNvSpPr txBox="1"/>
          <p:nvPr/>
        </p:nvSpPr>
        <p:spPr>
          <a:xfrm>
            <a:off x="5797317" y="1826220"/>
            <a:ext cx="5228486" cy="523220"/>
          </a:xfrm>
          <a:prstGeom prst="rect">
            <a:avLst/>
          </a:prstGeom>
          <a:noFill/>
        </p:spPr>
        <p:txBody>
          <a:bodyPr wrap="square" rtlCol="0">
            <a:spAutoFit/>
          </a:bodyPr>
          <a:lstStyle/>
          <a:p>
            <a:pPr algn="ctr"/>
            <a:r>
              <a:rPr lang="en-US" sz="2800" b="1">
                <a:solidFill>
                  <a:schemeClr val="bg1"/>
                </a:solidFill>
                <a:latin typeface="TT Commons Pro" panose="020B0103030102020204" pitchFamily="34" charset="77"/>
              </a:rPr>
              <a:t>Automated Artwork</a:t>
            </a:r>
          </a:p>
        </p:txBody>
      </p:sp>
      <p:pic>
        <p:nvPicPr>
          <p:cNvPr id="20" name="Picture 19" descr="A green arrow pointing upwards&#10;&#10;AI-generated content may be incorrect.">
            <a:extLst>
              <a:ext uri="{FF2B5EF4-FFF2-40B4-BE49-F238E27FC236}">
                <a16:creationId xmlns:a16="http://schemas.microsoft.com/office/drawing/2014/main" id="{88BFD2D2-5E06-1C74-D266-CAE54070EEBB}"/>
              </a:ext>
            </a:extLst>
          </p:cNvPr>
          <p:cNvPicPr>
            <a:picLocks noChangeAspect="1"/>
          </p:cNvPicPr>
          <p:nvPr/>
        </p:nvPicPr>
        <p:blipFill>
          <a:blip r:embed="rId6"/>
          <a:stretch>
            <a:fillRect/>
          </a:stretch>
        </p:blipFill>
        <p:spPr>
          <a:xfrm rot="3893089">
            <a:off x="8789289" y="3518566"/>
            <a:ext cx="901078" cy="880053"/>
          </a:xfrm>
          <a:prstGeom prst="rect">
            <a:avLst/>
          </a:prstGeom>
        </p:spPr>
      </p:pic>
      <p:grpSp>
        <p:nvGrpSpPr>
          <p:cNvPr id="21" name="Group 20">
            <a:extLst>
              <a:ext uri="{FF2B5EF4-FFF2-40B4-BE49-F238E27FC236}">
                <a16:creationId xmlns:a16="http://schemas.microsoft.com/office/drawing/2014/main" id="{C38B530B-08FB-9A4D-A716-DB90818080CF}"/>
              </a:ext>
            </a:extLst>
          </p:cNvPr>
          <p:cNvGrpSpPr/>
          <p:nvPr/>
        </p:nvGrpSpPr>
        <p:grpSpPr>
          <a:xfrm>
            <a:off x="6337093" y="2728320"/>
            <a:ext cx="2462350" cy="3118277"/>
            <a:chOff x="356732" y="2643501"/>
            <a:chExt cx="1648899" cy="2135130"/>
          </a:xfrm>
        </p:grpSpPr>
        <p:sp>
          <p:nvSpPr>
            <p:cNvPr id="22" name="Rectangle 21">
              <a:extLst>
                <a:ext uri="{FF2B5EF4-FFF2-40B4-BE49-F238E27FC236}">
                  <a16:creationId xmlns:a16="http://schemas.microsoft.com/office/drawing/2014/main" id="{FFFFDEE7-EE24-DCBC-7557-A3100859B0A0}"/>
                </a:ext>
              </a:extLst>
            </p:cNvPr>
            <p:cNvSpPr/>
            <p:nvPr/>
          </p:nvSpPr>
          <p:spPr>
            <a:xfrm>
              <a:off x="356732" y="2643501"/>
              <a:ext cx="1648899" cy="2135130"/>
            </a:xfrm>
            <a:prstGeom prst="rect">
              <a:avLst/>
            </a:prstGeom>
            <a:solidFill>
              <a:schemeClr val="bg1"/>
            </a:solidFill>
            <a:ln w="6350">
              <a:solidFill>
                <a:schemeClr val="tx1"/>
              </a:solidFill>
            </a:ln>
            <a:effectLst>
              <a:outerShdw blurRad="177800" dist="88900" dir="2700000" algn="tl"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T Commons Pro" panose="020B0103030102020204" pitchFamily="34" charset="77"/>
              </a:endParaRPr>
            </a:p>
          </p:txBody>
        </p:sp>
        <p:pic>
          <p:nvPicPr>
            <p:cNvPr id="23" name="Picture 22" descr="Table&#10;&#10;Description automatically generated">
              <a:extLst>
                <a:ext uri="{FF2B5EF4-FFF2-40B4-BE49-F238E27FC236}">
                  <a16:creationId xmlns:a16="http://schemas.microsoft.com/office/drawing/2014/main" id="{B3F67FE3-452F-F498-8C0A-5E6E111F5A64}"/>
                </a:ext>
              </a:extLst>
            </p:cNvPr>
            <p:cNvPicPr>
              <a:picLocks noChangeAspect="1"/>
            </p:cNvPicPr>
            <p:nvPr/>
          </p:nvPicPr>
          <p:blipFill>
            <a:blip r:embed="rId7"/>
            <a:stretch>
              <a:fillRect/>
            </a:stretch>
          </p:blipFill>
          <p:spPr>
            <a:xfrm>
              <a:off x="401642" y="2715166"/>
              <a:ext cx="1559077" cy="1991800"/>
            </a:xfrm>
            <a:prstGeom prst="rect">
              <a:avLst/>
            </a:prstGeom>
          </p:spPr>
        </p:pic>
      </p:grpSp>
      <p:sp>
        <p:nvSpPr>
          <p:cNvPr id="28" name="Subtitle 2">
            <a:extLst>
              <a:ext uri="{FF2B5EF4-FFF2-40B4-BE49-F238E27FC236}">
                <a16:creationId xmlns:a16="http://schemas.microsoft.com/office/drawing/2014/main" id="{C47D95F1-5F36-12B0-9CCF-205059320F2B}"/>
              </a:ext>
            </a:extLst>
          </p:cNvPr>
          <p:cNvSpPr txBox="1">
            <a:spLocks/>
          </p:cNvSpPr>
          <p:nvPr/>
        </p:nvSpPr>
        <p:spPr>
          <a:xfrm>
            <a:off x="8981718" y="3079308"/>
            <a:ext cx="1695523" cy="739678"/>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Tx/>
              <a:buNone/>
              <a:defRPr sz="1800" b="0" i="0" kern="1200">
                <a:solidFill>
                  <a:schemeClr val="tx2"/>
                </a:solidFill>
                <a:latin typeface="TT Commons Light" panose="02000506030000020003" pitchFamily="2" charset="77"/>
                <a:ea typeface="+mn-ea"/>
                <a:cs typeface="Arial" panose="020B0604020202020204" pitchFamily="34" charset="0"/>
              </a:defRPr>
            </a:lvl1pPr>
            <a:lvl2pPr marL="457200" indent="0" algn="ctr" defTabSz="914400" rtl="0" eaLnBrk="1" latinLnBrk="0" hangingPunct="1">
              <a:lnSpc>
                <a:spcPct val="90000"/>
              </a:lnSpc>
              <a:spcBef>
                <a:spcPts val="500"/>
              </a:spcBef>
              <a:buFontTx/>
              <a:buNone/>
              <a:defRPr sz="2000" b="0" i="0" kern="1200">
                <a:solidFill>
                  <a:schemeClr val="tx2"/>
                </a:solidFill>
                <a:latin typeface="TT Commons Light" panose="02000506030000020003" pitchFamily="2" charset="77"/>
                <a:ea typeface="+mn-ea"/>
                <a:cs typeface="Arial" panose="020B0604020202020204" pitchFamily="34" charset="0"/>
              </a:defRPr>
            </a:lvl2pPr>
            <a:lvl3pPr marL="914400" indent="0" algn="ctr" defTabSz="914400" rtl="0" eaLnBrk="1" latinLnBrk="0" hangingPunct="1">
              <a:lnSpc>
                <a:spcPct val="90000"/>
              </a:lnSpc>
              <a:spcBef>
                <a:spcPts val="500"/>
              </a:spcBef>
              <a:buClr>
                <a:schemeClr val="accent1"/>
              </a:buClr>
              <a:buFont typeface="Wingdings" pitchFamily="2" charset="2"/>
              <a:buNone/>
              <a:defRPr sz="1800" b="0" i="0" kern="1200">
                <a:solidFill>
                  <a:schemeClr val="tx2"/>
                </a:solidFill>
                <a:latin typeface="TT Commons Light" panose="02000506030000020003" pitchFamily="2" charset="77"/>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2"/>
                </a:solidFill>
                <a:latin typeface="TT Commons Light" panose="02000506030000020003" pitchFamily="2" charset="77"/>
                <a:ea typeface="+mn-ea"/>
                <a:cs typeface="Arial" panose="020B0604020202020204" pitchFamily="34" charset="0"/>
              </a:defRPr>
            </a:lvl4pPr>
            <a:lvl5pPr marL="1828800" indent="0" algn="ctr" defTabSz="914400" rtl="0" eaLnBrk="1" latinLnBrk="0" hangingPunct="1">
              <a:lnSpc>
                <a:spcPct val="90000"/>
              </a:lnSpc>
              <a:spcBef>
                <a:spcPts val="500"/>
              </a:spcBef>
              <a:buClr>
                <a:schemeClr val="accent1"/>
              </a:buClr>
              <a:buFont typeface="Arial" panose="020B0604020202020204" pitchFamily="34" charset="0"/>
              <a:buNone/>
              <a:defRPr sz="1600" b="0" i="0" kern="1200">
                <a:solidFill>
                  <a:schemeClr val="tx2"/>
                </a:solidFill>
                <a:latin typeface="TT Commons Light" panose="02000506030000020003" pitchFamily="2" charset="77"/>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1600">
                <a:solidFill>
                  <a:schemeClr val="bg1"/>
                </a:solidFill>
                <a:latin typeface="TT Commons Pro" panose="020B0103030102020204" pitchFamily="34" charset="77"/>
              </a:rPr>
              <a:t>Automated flow of content into artwork!</a:t>
            </a:r>
          </a:p>
        </p:txBody>
      </p:sp>
      <p:cxnSp>
        <p:nvCxnSpPr>
          <p:cNvPr id="30" name="Straight Connector 29">
            <a:extLst>
              <a:ext uri="{FF2B5EF4-FFF2-40B4-BE49-F238E27FC236}">
                <a16:creationId xmlns:a16="http://schemas.microsoft.com/office/drawing/2014/main" id="{2EA9B7B2-E504-C86D-44EE-EF6C331CE586}"/>
              </a:ext>
            </a:extLst>
          </p:cNvPr>
          <p:cNvCxnSpPr>
            <a:cxnSpLocks/>
          </p:cNvCxnSpPr>
          <p:nvPr/>
        </p:nvCxnSpPr>
        <p:spPr>
          <a:xfrm>
            <a:off x="5797317" y="1656524"/>
            <a:ext cx="30384" cy="4764154"/>
          </a:xfrm>
          <a:prstGeom prst="line">
            <a:avLst/>
          </a:prstGeom>
          <a:ln>
            <a:prstDash val="dash"/>
          </a:ln>
        </p:spPr>
        <p:style>
          <a:lnRef idx="2">
            <a:schemeClr val="accent1"/>
          </a:lnRef>
          <a:fillRef idx="0">
            <a:schemeClr val="accent1"/>
          </a:fillRef>
          <a:effectRef idx="1">
            <a:schemeClr val="accent1"/>
          </a:effectRef>
          <a:fontRef idx="minor">
            <a:schemeClr val="tx1"/>
          </a:fontRef>
        </p:style>
      </p:cxnSp>
      <p:pic>
        <p:nvPicPr>
          <p:cNvPr id="3" name="Picture 2" descr="A blood glucose meter in a box&#10;&#10;AI-generated content may be incorrect.">
            <a:extLst>
              <a:ext uri="{FF2B5EF4-FFF2-40B4-BE49-F238E27FC236}">
                <a16:creationId xmlns:a16="http://schemas.microsoft.com/office/drawing/2014/main" id="{CCAEEE92-5BD1-2D33-7E0E-17DA0829AE3F}"/>
              </a:ext>
            </a:extLst>
          </p:cNvPr>
          <p:cNvPicPr>
            <a:picLocks noChangeAspect="1"/>
          </p:cNvPicPr>
          <p:nvPr/>
        </p:nvPicPr>
        <p:blipFill>
          <a:blip r:embed="rId8"/>
          <a:stretch>
            <a:fillRect/>
          </a:stretch>
        </p:blipFill>
        <p:spPr>
          <a:xfrm>
            <a:off x="9239827" y="3951916"/>
            <a:ext cx="2380631" cy="2305903"/>
          </a:xfrm>
          <a:prstGeom prst="rect">
            <a:avLst/>
          </a:prstGeom>
        </p:spPr>
      </p:pic>
      <p:sp>
        <p:nvSpPr>
          <p:cNvPr id="2" name="Rectangle 1">
            <a:extLst>
              <a:ext uri="{FF2B5EF4-FFF2-40B4-BE49-F238E27FC236}">
                <a16:creationId xmlns:a16="http://schemas.microsoft.com/office/drawing/2014/main" id="{93A5F7E2-19DF-4E15-BE79-EDF3EEB816BB}"/>
              </a:ext>
            </a:extLst>
          </p:cNvPr>
          <p:cNvSpPr/>
          <p:nvPr/>
        </p:nvSpPr>
        <p:spPr>
          <a:xfrm>
            <a:off x="365759" y="1699297"/>
            <a:ext cx="5228486" cy="4601295"/>
          </a:xfrm>
          <a:prstGeom prst="rect">
            <a:avLst/>
          </a:prstGeom>
          <a:solidFill>
            <a:schemeClr val="tx1">
              <a:lumMod val="50000"/>
              <a:lumOff val="50000"/>
              <a:alpha val="785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7682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9BBDFE-B51A-3312-3EA5-126E68B4A546}"/>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D1E038F6-4CA4-2D76-A373-F35C7A6C4767}"/>
              </a:ext>
            </a:extLst>
          </p:cNvPr>
          <p:cNvSpPr/>
          <p:nvPr/>
        </p:nvSpPr>
        <p:spPr>
          <a:xfrm>
            <a:off x="174829" y="6252251"/>
            <a:ext cx="1623060" cy="4457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TT Commons Pro" panose="020B0103030102020204" pitchFamily="34" charset="77"/>
            </a:endParaRPr>
          </a:p>
        </p:txBody>
      </p:sp>
      <p:pic>
        <p:nvPicPr>
          <p:cNvPr id="6" name="Picture 5" descr="A green arrow pointing upwards&#10;&#10;AI-generated content may be incorrect.">
            <a:extLst>
              <a:ext uri="{FF2B5EF4-FFF2-40B4-BE49-F238E27FC236}">
                <a16:creationId xmlns:a16="http://schemas.microsoft.com/office/drawing/2014/main" id="{F28EA345-D038-113A-F062-612F1F5E79A0}"/>
              </a:ext>
            </a:extLst>
          </p:cNvPr>
          <p:cNvPicPr>
            <a:picLocks noChangeAspect="1"/>
          </p:cNvPicPr>
          <p:nvPr/>
        </p:nvPicPr>
        <p:blipFill>
          <a:blip r:embed="rId3"/>
          <a:stretch>
            <a:fillRect/>
          </a:stretch>
        </p:blipFill>
        <p:spPr>
          <a:xfrm rot="20035224" flipV="1">
            <a:off x="4512915" y="3765498"/>
            <a:ext cx="3229082" cy="3153735"/>
          </a:xfrm>
          <a:prstGeom prst="rect">
            <a:avLst/>
          </a:prstGeom>
        </p:spPr>
      </p:pic>
      <p:sp>
        <p:nvSpPr>
          <p:cNvPr id="13" name="Title 1">
            <a:extLst>
              <a:ext uri="{FF2B5EF4-FFF2-40B4-BE49-F238E27FC236}">
                <a16:creationId xmlns:a16="http://schemas.microsoft.com/office/drawing/2014/main" id="{BF838039-8BFE-D532-E492-A13F37AC620B}"/>
              </a:ext>
            </a:extLst>
          </p:cNvPr>
          <p:cNvSpPr txBox="1">
            <a:spLocks/>
          </p:cNvSpPr>
          <p:nvPr/>
        </p:nvSpPr>
        <p:spPr>
          <a:xfrm>
            <a:off x="365759" y="382864"/>
            <a:ext cx="9209756" cy="73701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800" b="1" i="0" kern="1200">
                <a:solidFill>
                  <a:schemeClr val="tx2"/>
                </a:solidFill>
                <a:latin typeface="Tiempos Headline Semibold" panose="02020703060303060403" pitchFamily="18" charset="77"/>
                <a:ea typeface="+mj-ea"/>
                <a:cs typeface="Times New Roman" panose="02020603050405020304" pitchFamily="18" charset="0"/>
              </a:defRPr>
            </a:lvl1pPr>
          </a:lstStyle>
          <a:p>
            <a:r>
              <a:rPr lang="en-US"/>
              <a:t>What is Automated Artwork?</a:t>
            </a:r>
          </a:p>
        </p:txBody>
      </p:sp>
      <p:sp>
        <p:nvSpPr>
          <p:cNvPr id="14" name="Subtitle 2">
            <a:extLst>
              <a:ext uri="{FF2B5EF4-FFF2-40B4-BE49-F238E27FC236}">
                <a16:creationId xmlns:a16="http://schemas.microsoft.com/office/drawing/2014/main" id="{51E95094-2EB9-358D-21E4-393E67323D5A}"/>
              </a:ext>
            </a:extLst>
          </p:cNvPr>
          <p:cNvSpPr txBox="1">
            <a:spLocks/>
          </p:cNvSpPr>
          <p:nvPr/>
        </p:nvSpPr>
        <p:spPr>
          <a:xfrm>
            <a:off x="475229" y="1092567"/>
            <a:ext cx="10480435" cy="724714"/>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Tx/>
              <a:buBlip>
                <a:blip r:embed="rId4"/>
              </a:buBlip>
              <a:defRPr sz="1800" b="0" i="0" kern="1200">
                <a:solidFill>
                  <a:schemeClr val="tx2"/>
                </a:solidFill>
                <a:latin typeface="TT Commons Light" panose="02000506030000020003" pitchFamily="2" charset="77"/>
                <a:ea typeface="+mn-ea"/>
                <a:cs typeface="Arial" panose="020B0604020202020204" pitchFamily="34" charset="0"/>
              </a:defRPr>
            </a:lvl1pPr>
            <a:lvl2pPr marL="685800" indent="-228600" algn="l" defTabSz="914400" rtl="0" eaLnBrk="1" latinLnBrk="0" hangingPunct="1">
              <a:lnSpc>
                <a:spcPct val="90000"/>
              </a:lnSpc>
              <a:spcBef>
                <a:spcPts val="500"/>
              </a:spcBef>
              <a:buFontTx/>
              <a:buBlip>
                <a:blip r:embed="rId5"/>
              </a:buBlip>
              <a:defRPr sz="1800" b="0" i="0" kern="1200">
                <a:solidFill>
                  <a:schemeClr val="tx2"/>
                </a:solidFill>
                <a:latin typeface="TT Commons Light" panose="02000506030000020003" pitchFamily="2" charset="77"/>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b="0" i="0" kern="1200">
                <a:solidFill>
                  <a:schemeClr val="tx2"/>
                </a:solidFill>
                <a:latin typeface="TT Commons Light" panose="02000506030000020003" pitchFamily="2" charset="77"/>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TT Commons Light" panose="02000506030000020003" pitchFamily="2" charset="77"/>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2"/>
                </a:solidFill>
                <a:latin typeface="TT Commons Light" panose="02000506030000020003" pitchFamily="2" charset="77"/>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a:latin typeface="TT Commons Pro Light" panose="020B0103030102020204" pitchFamily="34" charset="77"/>
              </a:rPr>
              <a:t>The ability to automatically apply labeling content changes to an artwork</a:t>
            </a:r>
          </a:p>
        </p:txBody>
      </p:sp>
      <p:grpSp>
        <p:nvGrpSpPr>
          <p:cNvPr id="15" name="Group 14">
            <a:extLst>
              <a:ext uri="{FF2B5EF4-FFF2-40B4-BE49-F238E27FC236}">
                <a16:creationId xmlns:a16="http://schemas.microsoft.com/office/drawing/2014/main" id="{7B1D27D5-D6BA-DE90-4D65-0B5977807C87}"/>
              </a:ext>
            </a:extLst>
          </p:cNvPr>
          <p:cNvGrpSpPr/>
          <p:nvPr/>
        </p:nvGrpSpPr>
        <p:grpSpPr>
          <a:xfrm>
            <a:off x="1335606" y="2107526"/>
            <a:ext cx="3369713" cy="4248583"/>
            <a:chOff x="356732" y="2643501"/>
            <a:chExt cx="1648899" cy="2135130"/>
          </a:xfrm>
        </p:grpSpPr>
        <p:sp>
          <p:nvSpPr>
            <p:cNvPr id="16" name="Rectangle 15">
              <a:extLst>
                <a:ext uri="{FF2B5EF4-FFF2-40B4-BE49-F238E27FC236}">
                  <a16:creationId xmlns:a16="http://schemas.microsoft.com/office/drawing/2014/main" id="{C1EC0403-758E-7D6E-8C14-0C9F5A025DD3}"/>
                </a:ext>
              </a:extLst>
            </p:cNvPr>
            <p:cNvSpPr/>
            <p:nvPr/>
          </p:nvSpPr>
          <p:spPr>
            <a:xfrm>
              <a:off x="356732" y="2643501"/>
              <a:ext cx="1648899" cy="2135130"/>
            </a:xfrm>
            <a:prstGeom prst="rect">
              <a:avLst/>
            </a:prstGeom>
            <a:solidFill>
              <a:schemeClr val="bg1"/>
            </a:solidFill>
            <a:ln w="6350">
              <a:solidFill>
                <a:schemeClr val="tx1"/>
              </a:solidFill>
            </a:ln>
            <a:effectLst>
              <a:outerShdw blurRad="177800" dist="88900" dir="2700000" algn="tl"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T Commons Pro" panose="020B0103030102020204" pitchFamily="34" charset="77"/>
              </a:endParaRPr>
            </a:p>
          </p:txBody>
        </p:sp>
        <p:pic>
          <p:nvPicPr>
            <p:cNvPr id="17" name="Picture 16" descr="Table&#10;&#10;Description automatically generated">
              <a:extLst>
                <a:ext uri="{FF2B5EF4-FFF2-40B4-BE49-F238E27FC236}">
                  <a16:creationId xmlns:a16="http://schemas.microsoft.com/office/drawing/2014/main" id="{E01ACB29-DB79-9280-CD11-AD3F427D7A2E}"/>
                </a:ext>
              </a:extLst>
            </p:cNvPr>
            <p:cNvPicPr>
              <a:picLocks noChangeAspect="1"/>
            </p:cNvPicPr>
            <p:nvPr/>
          </p:nvPicPr>
          <p:blipFill>
            <a:blip r:embed="rId6"/>
            <a:stretch>
              <a:fillRect/>
            </a:stretch>
          </p:blipFill>
          <p:spPr>
            <a:xfrm>
              <a:off x="401642" y="2715166"/>
              <a:ext cx="1559077" cy="1991800"/>
            </a:xfrm>
            <a:prstGeom prst="rect">
              <a:avLst/>
            </a:prstGeom>
          </p:spPr>
        </p:pic>
      </p:grpSp>
      <p:pic>
        <p:nvPicPr>
          <p:cNvPr id="18" name="Picture 17" descr="A blood glucose meter in a box&#10;&#10;AI-generated content may be incorrect.">
            <a:extLst>
              <a:ext uri="{FF2B5EF4-FFF2-40B4-BE49-F238E27FC236}">
                <a16:creationId xmlns:a16="http://schemas.microsoft.com/office/drawing/2014/main" id="{4476108F-D803-BFCF-295C-9AA8DB4088EE}"/>
              </a:ext>
            </a:extLst>
          </p:cNvPr>
          <p:cNvPicPr>
            <a:picLocks noChangeAspect="1"/>
          </p:cNvPicPr>
          <p:nvPr/>
        </p:nvPicPr>
        <p:blipFill>
          <a:blip r:embed="rId7"/>
          <a:stretch>
            <a:fillRect/>
          </a:stretch>
        </p:blipFill>
        <p:spPr>
          <a:xfrm>
            <a:off x="6299555" y="2009293"/>
            <a:ext cx="4907622" cy="4753571"/>
          </a:xfrm>
          <a:prstGeom prst="rect">
            <a:avLst/>
          </a:prstGeom>
        </p:spPr>
      </p:pic>
      <p:sp>
        <p:nvSpPr>
          <p:cNvPr id="19" name="Subtitle 2">
            <a:extLst>
              <a:ext uri="{FF2B5EF4-FFF2-40B4-BE49-F238E27FC236}">
                <a16:creationId xmlns:a16="http://schemas.microsoft.com/office/drawing/2014/main" id="{42EC5403-E86B-5609-CE38-6A770B533E7E}"/>
              </a:ext>
            </a:extLst>
          </p:cNvPr>
          <p:cNvSpPr txBox="1">
            <a:spLocks/>
          </p:cNvSpPr>
          <p:nvPr/>
        </p:nvSpPr>
        <p:spPr>
          <a:xfrm>
            <a:off x="4970637" y="3364622"/>
            <a:ext cx="1990746" cy="89528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1800" b="0" i="0" kern="1200">
                <a:solidFill>
                  <a:schemeClr val="tx2"/>
                </a:solidFill>
                <a:latin typeface="TT Commons Light" panose="02000506030000020003" pitchFamily="2" charset="77"/>
                <a:ea typeface="+mn-ea"/>
                <a:cs typeface="Arial" panose="020B0604020202020204" pitchFamily="34" charset="0"/>
              </a:defRPr>
            </a:lvl1pPr>
            <a:lvl2pPr marL="457200" indent="0" algn="ctr" defTabSz="914400" rtl="0" eaLnBrk="1" latinLnBrk="0" hangingPunct="1">
              <a:lnSpc>
                <a:spcPct val="90000"/>
              </a:lnSpc>
              <a:spcBef>
                <a:spcPts val="500"/>
              </a:spcBef>
              <a:buFontTx/>
              <a:buNone/>
              <a:defRPr sz="2000" b="0" i="0" kern="1200">
                <a:solidFill>
                  <a:schemeClr val="tx2"/>
                </a:solidFill>
                <a:latin typeface="TT Commons Light" panose="02000506030000020003" pitchFamily="2" charset="77"/>
                <a:ea typeface="+mn-ea"/>
                <a:cs typeface="Arial" panose="020B0604020202020204" pitchFamily="34" charset="0"/>
              </a:defRPr>
            </a:lvl2pPr>
            <a:lvl3pPr marL="914400" indent="0" algn="ctr" defTabSz="914400" rtl="0" eaLnBrk="1" latinLnBrk="0" hangingPunct="1">
              <a:lnSpc>
                <a:spcPct val="90000"/>
              </a:lnSpc>
              <a:spcBef>
                <a:spcPts val="500"/>
              </a:spcBef>
              <a:buClr>
                <a:schemeClr val="accent1"/>
              </a:buClr>
              <a:buFont typeface="Wingdings" pitchFamily="2" charset="2"/>
              <a:buNone/>
              <a:defRPr sz="1800" b="0" i="0" kern="1200">
                <a:solidFill>
                  <a:schemeClr val="tx2"/>
                </a:solidFill>
                <a:latin typeface="TT Commons Light" panose="02000506030000020003" pitchFamily="2" charset="77"/>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2"/>
                </a:solidFill>
                <a:latin typeface="TT Commons Light" panose="02000506030000020003" pitchFamily="2" charset="77"/>
                <a:ea typeface="+mn-ea"/>
                <a:cs typeface="Arial" panose="020B0604020202020204" pitchFamily="34" charset="0"/>
              </a:defRPr>
            </a:lvl4pPr>
            <a:lvl5pPr marL="1828800" indent="0" algn="ctr" defTabSz="914400" rtl="0" eaLnBrk="1" latinLnBrk="0" hangingPunct="1">
              <a:lnSpc>
                <a:spcPct val="90000"/>
              </a:lnSpc>
              <a:spcBef>
                <a:spcPts val="500"/>
              </a:spcBef>
              <a:buClr>
                <a:schemeClr val="accent1"/>
              </a:buClr>
              <a:buFont typeface="Arial" panose="020B0604020202020204" pitchFamily="34" charset="0"/>
              <a:buNone/>
              <a:defRPr sz="1600" b="0" i="0" kern="1200">
                <a:solidFill>
                  <a:schemeClr val="tx2"/>
                </a:solidFill>
                <a:latin typeface="TT Commons Light" panose="02000506030000020003" pitchFamily="2" charset="77"/>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b="1">
                <a:latin typeface="Tiempos Headline Semibold" panose="02020703060303060403" pitchFamily="18" charset="77"/>
              </a:rPr>
              <a:t>Automated flow of content into artwork!</a:t>
            </a:r>
          </a:p>
        </p:txBody>
      </p:sp>
    </p:spTree>
    <p:extLst>
      <p:ext uri="{BB962C8B-B14F-4D97-AF65-F5344CB8AC3E}">
        <p14:creationId xmlns:p14="http://schemas.microsoft.com/office/powerpoint/2010/main" val="6654975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2D3C29-5729-E521-00FF-E8F6AF30D8BA}"/>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8FD2EF6F-D1B8-8ADF-786D-8945DDB799FB}"/>
              </a:ext>
            </a:extLst>
          </p:cNvPr>
          <p:cNvSpPr txBox="1">
            <a:spLocks/>
          </p:cNvSpPr>
          <p:nvPr/>
        </p:nvSpPr>
        <p:spPr>
          <a:xfrm>
            <a:off x="365758" y="382864"/>
            <a:ext cx="9789233" cy="149101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800" b="1" i="0" kern="1200">
                <a:solidFill>
                  <a:schemeClr val="tx2"/>
                </a:solidFill>
                <a:latin typeface="Tiempos Headline Semibold" panose="02020703060303060403" pitchFamily="18" charset="77"/>
                <a:ea typeface="+mj-ea"/>
                <a:cs typeface="Times New Roman" panose="02020603050405020304" pitchFamily="18" charset="0"/>
              </a:defRPr>
            </a:lvl1pPr>
          </a:lstStyle>
          <a:p>
            <a:r>
              <a:rPr lang="en-US"/>
              <a:t>AI-Assisted Artwork Updates: </a:t>
            </a:r>
            <a:r>
              <a:rPr lang="en-US" i="1"/>
              <a:t>Agentic Artwork</a:t>
            </a:r>
          </a:p>
        </p:txBody>
      </p:sp>
      <p:sp>
        <p:nvSpPr>
          <p:cNvPr id="14" name="Subtitle 2">
            <a:extLst>
              <a:ext uri="{FF2B5EF4-FFF2-40B4-BE49-F238E27FC236}">
                <a16:creationId xmlns:a16="http://schemas.microsoft.com/office/drawing/2014/main" id="{ECCAE2BA-82F5-F6C8-9FA5-67DEA160D7CA}"/>
              </a:ext>
            </a:extLst>
          </p:cNvPr>
          <p:cNvSpPr txBox="1">
            <a:spLocks/>
          </p:cNvSpPr>
          <p:nvPr/>
        </p:nvSpPr>
        <p:spPr>
          <a:xfrm>
            <a:off x="365759" y="2473124"/>
            <a:ext cx="10480435" cy="244660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3"/>
              </a:buBlip>
              <a:defRPr sz="1800" b="0" i="0" kern="1200">
                <a:solidFill>
                  <a:schemeClr val="tx2"/>
                </a:solidFill>
                <a:latin typeface="TT Commons Light" panose="02000506030000020003" pitchFamily="2" charset="77"/>
                <a:ea typeface="+mn-ea"/>
                <a:cs typeface="Arial" panose="020B0604020202020204" pitchFamily="34" charset="0"/>
              </a:defRPr>
            </a:lvl1pPr>
            <a:lvl2pPr marL="685800" indent="-228600" algn="l" defTabSz="914400" rtl="0" eaLnBrk="1" latinLnBrk="0" hangingPunct="1">
              <a:lnSpc>
                <a:spcPct val="90000"/>
              </a:lnSpc>
              <a:spcBef>
                <a:spcPts val="500"/>
              </a:spcBef>
              <a:buFontTx/>
              <a:buBlip>
                <a:blip r:embed="rId4"/>
              </a:buBlip>
              <a:defRPr sz="1800" b="0" i="0" kern="1200">
                <a:solidFill>
                  <a:schemeClr val="tx2"/>
                </a:solidFill>
                <a:latin typeface="TT Commons Light" panose="02000506030000020003" pitchFamily="2" charset="77"/>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b="0" i="0" kern="1200">
                <a:solidFill>
                  <a:schemeClr val="tx2"/>
                </a:solidFill>
                <a:latin typeface="TT Commons Light" panose="02000506030000020003" pitchFamily="2" charset="77"/>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TT Commons Light" panose="02000506030000020003" pitchFamily="2" charset="77"/>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2"/>
                </a:solidFill>
                <a:latin typeface="TT Commons Light" panose="02000506030000020003" pitchFamily="2" charset="77"/>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663" indent="-347663"/>
            <a:r>
              <a:rPr lang="en-CA" sz="2000">
                <a:latin typeface="TT Commons Pro" panose="020B0103030102020204" pitchFamily="34" charset="77"/>
              </a:rPr>
              <a:t>Uses an AI Agent to automatically apply changes to artwork</a:t>
            </a:r>
          </a:p>
          <a:p>
            <a:pPr marL="347663" indent="-347663"/>
            <a:r>
              <a:rPr lang="en-CA" sz="2000">
                <a:latin typeface="TT Commons Pro" panose="020B0103030102020204" pitchFamily="34" charset="77"/>
              </a:rPr>
              <a:t>Adds context not easily represented by rules-based systems</a:t>
            </a:r>
          </a:p>
          <a:p>
            <a:pPr marL="347663" indent="-347663"/>
            <a:r>
              <a:rPr lang="en-CA" sz="2000">
                <a:latin typeface="TT Commons Pro" panose="020B0103030102020204" pitchFamily="34" charset="77"/>
              </a:rPr>
              <a:t>Adapts to unseen scenarios</a:t>
            </a:r>
          </a:p>
          <a:p>
            <a:pPr>
              <a:lnSpc>
                <a:spcPct val="115000"/>
              </a:lnSpc>
              <a:spcAft>
                <a:spcPts val="800"/>
              </a:spcAft>
              <a:buNone/>
            </a:pPr>
            <a:endParaRPr lang="en-CA" sz="2000" b="1" kern="100">
              <a:latin typeface="TT Commons Pro" panose="020B0103030102020204" pitchFamily="34" charset="77"/>
              <a:ea typeface="Aptos" panose="020B0004020202020204" pitchFamily="34" charset="0"/>
              <a:cs typeface="Times New Roman" panose="02020603050405020304" pitchFamily="18" charset="0"/>
            </a:endParaRPr>
          </a:p>
          <a:p>
            <a:pPr marL="347663" indent="-347663"/>
            <a:endParaRPr lang="en-US" sz="2000">
              <a:latin typeface="TT Commons Pro" panose="020B0103030102020204" pitchFamily="34" charset="77"/>
            </a:endParaRPr>
          </a:p>
        </p:txBody>
      </p:sp>
      <p:sp>
        <p:nvSpPr>
          <p:cNvPr id="2" name="TextBox 1">
            <a:extLst>
              <a:ext uri="{FF2B5EF4-FFF2-40B4-BE49-F238E27FC236}">
                <a16:creationId xmlns:a16="http://schemas.microsoft.com/office/drawing/2014/main" id="{1FE46811-C6E9-603A-E18A-B75ED0729783}"/>
              </a:ext>
            </a:extLst>
          </p:cNvPr>
          <p:cNvSpPr txBox="1"/>
          <p:nvPr/>
        </p:nvSpPr>
        <p:spPr>
          <a:xfrm>
            <a:off x="7845807" y="6480973"/>
            <a:ext cx="4180541" cy="215444"/>
          </a:xfrm>
          <a:prstGeom prst="rect">
            <a:avLst/>
          </a:prstGeom>
          <a:noFill/>
        </p:spPr>
        <p:txBody>
          <a:bodyPr wrap="square" anchor="b">
            <a:spAutoFit/>
          </a:bodyPr>
          <a:lstStyle/>
          <a:p>
            <a:pPr algn="r"/>
            <a:r>
              <a:rPr lang="en-US" sz="800">
                <a:solidFill>
                  <a:schemeClr val="tx2">
                    <a:lumMod val="60000"/>
                    <a:lumOff val="40000"/>
                  </a:schemeClr>
                </a:solidFill>
                <a:latin typeface="TT Commons Pro" panose="020B0103030102020204" pitchFamily="34" charset="77"/>
                <a:hlinkClick r:id="rId5">
                  <a:extLst>
                    <a:ext uri="{A12FA001-AC4F-418D-AE19-62706E023703}">
                      <ahyp:hlinkClr xmlns:ahyp="http://schemas.microsoft.com/office/drawing/2018/hyperlinkcolor" val="tx"/>
                    </a:ext>
                  </a:extLst>
                </a:hlinkClick>
              </a:rPr>
              <a:t>Deloitte, State of AI in the Enterprise Jan 2026</a:t>
            </a:r>
            <a:endParaRPr lang="en-US" sz="800">
              <a:solidFill>
                <a:schemeClr val="tx2">
                  <a:lumMod val="60000"/>
                  <a:lumOff val="40000"/>
                </a:schemeClr>
              </a:solidFill>
              <a:latin typeface="TT Commons Pro" panose="020B0103030102020204" pitchFamily="34" charset="77"/>
            </a:endParaRPr>
          </a:p>
        </p:txBody>
      </p:sp>
      <p:sp>
        <p:nvSpPr>
          <p:cNvPr id="3" name="TextBox 2">
            <a:extLst>
              <a:ext uri="{FF2B5EF4-FFF2-40B4-BE49-F238E27FC236}">
                <a16:creationId xmlns:a16="http://schemas.microsoft.com/office/drawing/2014/main" id="{521E0EEB-0B55-2D7B-FC11-FB7D13357BD3}"/>
              </a:ext>
            </a:extLst>
          </p:cNvPr>
          <p:cNvSpPr txBox="1"/>
          <p:nvPr/>
        </p:nvSpPr>
        <p:spPr>
          <a:xfrm>
            <a:off x="588009" y="4320097"/>
            <a:ext cx="9167737" cy="1200329"/>
          </a:xfrm>
          <a:prstGeom prst="rect">
            <a:avLst/>
          </a:prstGeom>
          <a:noFill/>
        </p:spPr>
        <p:txBody>
          <a:bodyPr wrap="square" rtlCol="0">
            <a:spAutoFit/>
          </a:bodyPr>
          <a:lstStyle/>
          <a:p>
            <a:r>
              <a:rPr lang="en-CA" sz="3600" b="1">
                <a:solidFill>
                  <a:schemeClr val="accent1"/>
                </a:solidFill>
                <a:latin typeface="TT Commons Pro" panose="020B0103030102020204" pitchFamily="34" charset="77"/>
              </a:rPr>
              <a:t>“74%... Nearly 3 in 4 companies plan </a:t>
            </a:r>
            <a:br>
              <a:rPr lang="en-CA" sz="3600" b="1">
                <a:solidFill>
                  <a:schemeClr val="accent1"/>
                </a:solidFill>
                <a:latin typeface="TT Commons Pro" panose="020B0103030102020204" pitchFamily="34" charset="77"/>
              </a:rPr>
            </a:br>
            <a:r>
              <a:rPr lang="en-CA" sz="3600" b="1">
                <a:solidFill>
                  <a:schemeClr val="accent1"/>
                </a:solidFill>
                <a:latin typeface="TT Commons Pro" panose="020B0103030102020204" pitchFamily="34" charset="77"/>
              </a:rPr>
              <a:t>to deploy Agentic AI within two years.”</a:t>
            </a:r>
          </a:p>
        </p:txBody>
      </p:sp>
      <p:pic>
        <p:nvPicPr>
          <p:cNvPr id="7" name="Image 3" descr="preencoded.png">
            <a:extLst>
              <a:ext uri="{FF2B5EF4-FFF2-40B4-BE49-F238E27FC236}">
                <a16:creationId xmlns:a16="http://schemas.microsoft.com/office/drawing/2014/main" id="{1C08CFC2-5186-D1DA-32DC-882D90B57D8E}"/>
              </a:ext>
            </a:extLst>
          </p:cNvPr>
          <p:cNvPicPr>
            <a:picLocks noChangeAspect="1"/>
          </p:cNvPicPr>
          <p:nvPr/>
        </p:nvPicPr>
        <p:blipFill>
          <a:blip r:embed="rId6"/>
          <a:srcRect/>
          <a:stretch/>
        </p:blipFill>
        <p:spPr>
          <a:xfrm>
            <a:off x="8439135" y="2098224"/>
            <a:ext cx="3101262" cy="2221873"/>
          </a:xfrm>
          <a:prstGeom prst="rect">
            <a:avLst/>
          </a:prstGeom>
        </p:spPr>
      </p:pic>
    </p:spTree>
    <p:extLst>
      <p:ext uri="{BB962C8B-B14F-4D97-AF65-F5344CB8AC3E}">
        <p14:creationId xmlns:p14="http://schemas.microsoft.com/office/powerpoint/2010/main" val="40803186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662CBA-9250-15E5-15F7-D8A53E2F6667}"/>
            </a:ext>
          </a:extLst>
        </p:cNvPr>
        <p:cNvGrpSpPr/>
        <p:nvPr/>
      </p:nvGrpSpPr>
      <p:grpSpPr>
        <a:xfrm>
          <a:off x="0" y="0"/>
          <a:ext cx="0" cy="0"/>
          <a:chOff x="0" y="0"/>
          <a:chExt cx="0" cy="0"/>
        </a:xfrm>
      </p:grpSpPr>
      <p:sp>
        <p:nvSpPr>
          <p:cNvPr id="95" name="Title 3">
            <a:extLst>
              <a:ext uri="{FF2B5EF4-FFF2-40B4-BE49-F238E27FC236}">
                <a16:creationId xmlns:a16="http://schemas.microsoft.com/office/drawing/2014/main" id="{53A15063-5F29-A5DC-7771-D90A97F9FFB1}"/>
              </a:ext>
            </a:extLst>
          </p:cNvPr>
          <p:cNvSpPr txBox="1">
            <a:spLocks/>
          </p:cNvSpPr>
          <p:nvPr/>
        </p:nvSpPr>
        <p:spPr>
          <a:xfrm>
            <a:off x="383117" y="268291"/>
            <a:ext cx="11298599" cy="88407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5200" b="1" i="0" kern="1200">
                <a:solidFill>
                  <a:schemeClr val="bg1"/>
                </a:solidFill>
                <a:latin typeface="Tiempos Headline Semibold" panose="02020703060303060403" pitchFamily="18" charset="77"/>
                <a:ea typeface="+mj-ea"/>
                <a:cs typeface="Times New Roman" panose="02020603050405020304" pitchFamily="18" charset="0"/>
              </a:defRPr>
            </a:lvl1pPr>
          </a:lstStyle>
          <a:p>
            <a:r>
              <a:rPr lang="en-US" sz="4800"/>
              <a:t>AI-Assisted Artwork Updates</a:t>
            </a:r>
          </a:p>
        </p:txBody>
      </p:sp>
      <p:pic>
        <p:nvPicPr>
          <p:cNvPr id="4" name="Picture 3">
            <a:extLst>
              <a:ext uri="{FF2B5EF4-FFF2-40B4-BE49-F238E27FC236}">
                <a16:creationId xmlns:a16="http://schemas.microsoft.com/office/drawing/2014/main" id="{FB4B1F20-125C-3A63-F62B-476A90194B01}"/>
              </a:ext>
            </a:extLst>
          </p:cNvPr>
          <p:cNvPicPr>
            <a:picLocks noChangeAspect="1"/>
          </p:cNvPicPr>
          <p:nvPr/>
        </p:nvPicPr>
        <p:blipFill>
          <a:blip r:embed="rId3"/>
          <a:srcRect/>
          <a:stretch/>
        </p:blipFill>
        <p:spPr>
          <a:xfrm>
            <a:off x="3679417" y="4837787"/>
            <a:ext cx="1440496" cy="1440498"/>
          </a:xfrm>
          <a:prstGeom prst="rect">
            <a:avLst/>
          </a:prstGeom>
          <a:effectLst>
            <a:outerShdw blurRad="50800" dist="38100" dir="2700000" algn="tl" rotWithShape="0">
              <a:prstClr val="black">
                <a:alpha val="40000"/>
              </a:prstClr>
            </a:outerShdw>
          </a:effectLst>
        </p:spPr>
      </p:pic>
      <p:pic>
        <p:nvPicPr>
          <p:cNvPr id="15" name="Picture 14" descr="A blue and green eye with a black circle and blue lights&#10;&#10;Description automatically generated with medium confidence">
            <a:extLst>
              <a:ext uri="{FF2B5EF4-FFF2-40B4-BE49-F238E27FC236}">
                <a16:creationId xmlns:a16="http://schemas.microsoft.com/office/drawing/2014/main" id="{4C4F3D78-32A7-FBAC-3FA5-2CD5CAE28A6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961" b="89941" l="7031" r="89941">
                        <a14:foregroundMark x1="8301" y1="62891" x2="5859" y2="53809"/>
                        <a14:foregroundMark x1="5859" y1="53809" x2="7031" y2="35059"/>
                        <a14:foregroundMark x1="7031" y1="35059" x2="12402" y2="29590"/>
                        <a14:backgroundMark x1="13184" y1="77637" x2="19727" y2="82129"/>
                      </a14:backgroundRemoval>
                    </a14:imgEffect>
                  </a14:imgLayer>
                </a14:imgProps>
              </a:ext>
            </a:extLst>
          </a:blip>
          <a:stretch>
            <a:fillRect/>
          </a:stretch>
        </p:blipFill>
        <p:spPr>
          <a:xfrm>
            <a:off x="3378514" y="1152361"/>
            <a:ext cx="2135484" cy="2135484"/>
          </a:xfrm>
          <a:prstGeom prst="rect">
            <a:avLst/>
          </a:prstGeom>
          <a:effectLst>
            <a:outerShdw blurRad="218003" dist="38100" dir="8100000" sx="102000" sy="102000" algn="tr" rotWithShape="0">
              <a:schemeClr val="bg1">
                <a:alpha val="24752"/>
              </a:schemeClr>
            </a:outerShdw>
          </a:effectLst>
        </p:spPr>
      </p:pic>
      <p:sp>
        <p:nvSpPr>
          <p:cNvPr id="16" name="Bent Arrow 15">
            <a:extLst>
              <a:ext uri="{FF2B5EF4-FFF2-40B4-BE49-F238E27FC236}">
                <a16:creationId xmlns:a16="http://schemas.microsoft.com/office/drawing/2014/main" id="{691A600E-1F3A-BC74-56AB-801376EE979F}"/>
              </a:ext>
            </a:extLst>
          </p:cNvPr>
          <p:cNvSpPr/>
          <p:nvPr/>
        </p:nvSpPr>
        <p:spPr>
          <a:xfrm>
            <a:off x="1322593" y="1835467"/>
            <a:ext cx="1966508" cy="1427739"/>
          </a:xfrm>
          <a:prstGeom prst="bentArrow">
            <a:avLst/>
          </a:prstGeom>
          <a:solidFill>
            <a:srgbClr val="FFFFFF"/>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defTabSz="914378" eaLnBrk="0" fontAlgn="base" hangingPunct="0">
              <a:spcBef>
                <a:spcPct val="0"/>
              </a:spcBef>
              <a:spcAft>
                <a:spcPct val="0"/>
              </a:spcAft>
            </a:pPr>
            <a:endParaRPr lang="en-US" sz="1600" kern="0">
              <a:solidFill>
                <a:srgbClr val="FFFFFF"/>
              </a:solidFill>
              <a:latin typeface="TT Commons Pro" panose="020B0103030102020204" pitchFamily="34" charset="77"/>
            </a:endParaRPr>
          </a:p>
        </p:txBody>
      </p:sp>
      <p:sp>
        <p:nvSpPr>
          <p:cNvPr id="18" name="Content Placeholder 3">
            <a:extLst>
              <a:ext uri="{FF2B5EF4-FFF2-40B4-BE49-F238E27FC236}">
                <a16:creationId xmlns:a16="http://schemas.microsoft.com/office/drawing/2014/main" id="{F8BFC030-A79A-8A52-2568-600CF1E4EBEA}"/>
              </a:ext>
            </a:extLst>
          </p:cNvPr>
          <p:cNvSpPr txBox="1">
            <a:spLocks/>
          </p:cNvSpPr>
          <p:nvPr/>
        </p:nvSpPr>
        <p:spPr>
          <a:xfrm>
            <a:off x="5711141" y="2104883"/>
            <a:ext cx="5433683" cy="2135483"/>
          </a:xfrm>
          <a:prstGeom prst="rect">
            <a:avLst/>
          </a:prstGeom>
          <a:solidFill>
            <a:schemeClr val="tx2">
              <a:lumMod val="50000"/>
            </a:schemeClr>
          </a:solidFill>
          <a:effectLst>
            <a:outerShdw blurRad="50800" dist="88900" dir="2700000" algn="tl" rotWithShape="0">
              <a:schemeClr val="tx2">
                <a:lumMod val="40000"/>
                <a:lumOff val="60000"/>
                <a:alpha val="56000"/>
              </a:schemeClr>
            </a:outerShdw>
          </a:effectLst>
        </p:spPr>
        <p:txBody>
          <a:bodyPr vert="horz" lIns="182880" tIns="45720" rIns="182880" bIns="45720" rtlCol="0" anchor="ctr">
            <a:normAutofit fontScale="92500"/>
          </a:bodyPr>
          <a:lstStyle>
            <a:lvl1pPr marL="0" indent="0" algn="l" defTabSz="914400" rtl="0" eaLnBrk="1" latinLnBrk="0" hangingPunct="1">
              <a:lnSpc>
                <a:spcPct val="90000"/>
              </a:lnSpc>
              <a:spcBef>
                <a:spcPts val="1000"/>
              </a:spcBef>
              <a:buFontTx/>
              <a:buNone/>
              <a:defRPr sz="1800" b="0" i="0" kern="1200">
                <a:solidFill>
                  <a:schemeClr val="bg1"/>
                </a:solidFill>
                <a:latin typeface="TT Commons Light" panose="02000506030000020003" pitchFamily="2" charset="77"/>
                <a:ea typeface="+mn-ea"/>
                <a:cs typeface="Arial" panose="020B0604020202020204" pitchFamily="34" charset="0"/>
              </a:defRPr>
            </a:lvl1pPr>
            <a:lvl2pPr marL="457200" indent="0" algn="ctr" defTabSz="914400" rtl="0" eaLnBrk="1" latinLnBrk="0" hangingPunct="1">
              <a:lnSpc>
                <a:spcPct val="90000"/>
              </a:lnSpc>
              <a:spcBef>
                <a:spcPts val="500"/>
              </a:spcBef>
              <a:buFontTx/>
              <a:buNone/>
              <a:defRPr sz="2000" b="0" i="0" kern="1200">
                <a:solidFill>
                  <a:schemeClr val="tx2"/>
                </a:solidFill>
                <a:latin typeface="TT Commons Light" panose="02000506030000020003" pitchFamily="2" charset="77"/>
                <a:ea typeface="+mn-ea"/>
                <a:cs typeface="Arial" panose="020B0604020202020204" pitchFamily="34" charset="0"/>
              </a:defRPr>
            </a:lvl2pPr>
            <a:lvl3pPr marL="914400" indent="0" algn="ctr" defTabSz="914400" rtl="0" eaLnBrk="1" latinLnBrk="0" hangingPunct="1">
              <a:lnSpc>
                <a:spcPct val="90000"/>
              </a:lnSpc>
              <a:spcBef>
                <a:spcPts val="500"/>
              </a:spcBef>
              <a:buClr>
                <a:schemeClr val="accent1"/>
              </a:buClr>
              <a:buFont typeface="Wingdings" pitchFamily="2" charset="2"/>
              <a:buNone/>
              <a:defRPr sz="1800" b="0" i="0" kern="1200">
                <a:solidFill>
                  <a:schemeClr val="tx2"/>
                </a:solidFill>
                <a:latin typeface="TT Commons Light" panose="02000506030000020003" pitchFamily="2" charset="77"/>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2"/>
                </a:solidFill>
                <a:latin typeface="TT Commons Light" panose="02000506030000020003" pitchFamily="2" charset="77"/>
                <a:ea typeface="+mn-ea"/>
                <a:cs typeface="Arial" panose="020B0604020202020204" pitchFamily="34" charset="0"/>
              </a:defRPr>
            </a:lvl4pPr>
            <a:lvl5pPr marL="1828800" indent="0" algn="ctr" defTabSz="914400" rtl="0" eaLnBrk="1" latinLnBrk="0" hangingPunct="1">
              <a:lnSpc>
                <a:spcPct val="90000"/>
              </a:lnSpc>
              <a:spcBef>
                <a:spcPts val="500"/>
              </a:spcBef>
              <a:buClr>
                <a:schemeClr val="accent1"/>
              </a:buClr>
              <a:buFont typeface="Arial" panose="020B0604020202020204" pitchFamily="34" charset="0"/>
              <a:buNone/>
              <a:defRPr sz="1600" b="0" i="0" kern="1200">
                <a:solidFill>
                  <a:schemeClr val="tx2"/>
                </a:solidFill>
                <a:latin typeface="TT Commons Light" panose="02000506030000020003" pitchFamily="2" charset="77"/>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457200" marR="0" lvl="0" indent="-457200" algn="l" defTabSz="914378" rtl="0" eaLnBrk="0" fontAlgn="base" latinLnBrk="0" hangingPunct="0">
              <a:lnSpc>
                <a:spcPct val="100000"/>
              </a:lnSpc>
              <a:spcBef>
                <a:spcPts val="600"/>
              </a:spcBef>
              <a:spcAft>
                <a:spcPts val="600"/>
              </a:spcAft>
              <a:buClrTx/>
              <a:buSzTx/>
              <a:buFont typeface="+mj-lt"/>
              <a:buAutoNum type="arabicPeriod"/>
              <a:tabLst/>
              <a:defRPr/>
            </a:pPr>
            <a:r>
              <a:rPr lang="en-US" sz="2200">
                <a:latin typeface="TT Commons Pro Light" panose="020B0103030102020204" pitchFamily="34" charset="77"/>
              </a:rPr>
              <a:t>Brief is read by LLM Import Agent</a:t>
            </a:r>
          </a:p>
          <a:p>
            <a:pPr marL="457200" marR="0" lvl="0" indent="-457200" algn="l" defTabSz="914378" rtl="0" eaLnBrk="0" fontAlgn="base" latinLnBrk="0" hangingPunct="0">
              <a:lnSpc>
                <a:spcPct val="100000"/>
              </a:lnSpc>
              <a:spcBef>
                <a:spcPts val="600"/>
              </a:spcBef>
              <a:spcAft>
                <a:spcPts val="600"/>
              </a:spcAft>
              <a:buClrTx/>
              <a:buSzTx/>
              <a:buFont typeface="+mj-lt"/>
              <a:buAutoNum type="arabicPeriod"/>
              <a:tabLst/>
              <a:defRPr/>
            </a:pPr>
            <a:r>
              <a:rPr lang="en-US" sz="2200">
                <a:latin typeface="TT Commons Pro Light" panose="020B0103030102020204" pitchFamily="34" charset="77"/>
              </a:rPr>
              <a:t>Agent determines change required to Illustrator file</a:t>
            </a:r>
          </a:p>
          <a:p>
            <a:pPr marL="457200" marR="0" lvl="0" indent="-457200" algn="l" defTabSz="914378" rtl="0" eaLnBrk="0" fontAlgn="base" latinLnBrk="0" hangingPunct="0">
              <a:lnSpc>
                <a:spcPct val="100000"/>
              </a:lnSpc>
              <a:spcBef>
                <a:spcPts val="600"/>
              </a:spcBef>
              <a:spcAft>
                <a:spcPts val="600"/>
              </a:spcAft>
              <a:buClrTx/>
              <a:buSzTx/>
              <a:buFont typeface="+mj-lt"/>
              <a:buAutoNum type="arabicPeriod"/>
              <a:tabLst/>
              <a:defRPr/>
            </a:pPr>
            <a:r>
              <a:rPr lang="en-US" sz="2200">
                <a:latin typeface="TT Commons Pro Light" panose="020B0103030102020204" pitchFamily="34" charset="77"/>
              </a:rPr>
              <a:t>Agent presents changed file to production artist for verification &amp; acceptance</a:t>
            </a:r>
          </a:p>
        </p:txBody>
      </p:sp>
      <p:sp>
        <p:nvSpPr>
          <p:cNvPr id="20" name="Down Arrow 19">
            <a:extLst>
              <a:ext uri="{FF2B5EF4-FFF2-40B4-BE49-F238E27FC236}">
                <a16:creationId xmlns:a16="http://schemas.microsoft.com/office/drawing/2014/main" id="{51DE7348-0D79-B0DD-C8A5-2F43BD088EB6}"/>
              </a:ext>
            </a:extLst>
          </p:cNvPr>
          <p:cNvSpPr/>
          <p:nvPr/>
        </p:nvSpPr>
        <p:spPr>
          <a:xfrm rot="16200000">
            <a:off x="5706378" y="4892131"/>
            <a:ext cx="701365" cy="1331809"/>
          </a:xfrm>
          <a:prstGeom prst="downArrow">
            <a:avLst/>
          </a:prstGeom>
          <a:solidFill>
            <a:schemeClr val="bg1"/>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1600" u="none" strike="noStrike" kern="0" cap="none" spc="0" normalizeH="0" baseline="0" noProof="0">
              <a:ln>
                <a:noFill/>
              </a:ln>
              <a:solidFill>
                <a:srgbClr val="FFFFFF"/>
              </a:solidFill>
              <a:effectLst/>
              <a:uLnTx/>
              <a:uFillTx/>
              <a:latin typeface="TT Commons Pro" panose="020B0103030102020204" pitchFamily="34" charset="77"/>
              <a:ea typeface="+mn-ea"/>
              <a:cs typeface="+mn-cs"/>
            </a:endParaRPr>
          </a:p>
        </p:txBody>
      </p:sp>
      <p:sp>
        <p:nvSpPr>
          <p:cNvPr id="21" name="Down Arrow 20">
            <a:extLst>
              <a:ext uri="{FF2B5EF4-FFF2-40B4-BE49-F238E27FC236}">
                <a16:creationId xmlns:a16="http://schemas.microsoft.com/office/drawing/2014/main" id="{334F224D-6416-093D-F7B3-AF3C13284F6C}"/>
              </a:ext>
            </a:extLst>
          </p:cNvPr>
          <p:cNvSpPr/>
          <p:nvPr/>
        </p:nvSpPr>
        <p:spPr>
          <a:xfrm>
            <a:off x="4048982" y="3263206"/>
            <a:ext cx="701365" cy="1331809"/>
          </a:xfrm>
          <a:prstGeom prst="downArrow">
            <a:avLst/>
          </a:prstGeom>
          <a:solidFill>
            <a:schemeClr val="bg1"/>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1600" u="none" strike="noStrike" kern="0" cap="none" spc="0" normalizeH="0" baseline="0" noProof="0">
              <a:ln>
                <a:noFill/>
              </a:ln>
              <a:solidFill>
                <a:srgbClr val="FFFFFF"/>
              </a:solidFill>
              <a:effectLst/>
              <a:uLnTx/>
              <a:uFillTx/>
              <a:latin typeface="TT Commons Pro" panose="020B0103030102020204" pitchFamily="34" charset="77"/>
              <a:ea typeface="+mn-ea"/>
              <a:cs typeface="+mn-cs"/>
            </a:endParaRPr>
          </a:p>
        </p:txBody>
      </p:sp>
      <p:grpSp>
        <p:nvGrpSpPr>
          <p:cNvPr id="6" name="Group 5">
            <a:extLst>
              <a:ext uri="{FF2B5EF4-FFF2-40B4-BE49-F238E27FC236}">
                <a16:creationId xmlns:a16="http://schemas.microsoft.com/office/drawing/2014/main" id="{0D4CB929-471F-00A1-D761-819C45BCE4E5}"/>
              </a:ext>
            </a:extLst>
          </p:cNvPr>
          <p:cNvGrpSpPr/>
          <p:nvPr/>
        </p:nvGrpSpPr>
        <p:grpSpPr>
          <a:xfrm>
            <a:off x="7072089" y="4865432"/>
            <a:ext cx="1429246" cy="1385205"/>
            <a:chOff x="8566377" y="4865432"/>
            <a:chExt cx="1429246" cy="1385205"/>
          </a:xfrm>
        </p:grpSpPr>
        <p:sp>
          <p:nvSpPr>
            <p:cNvPr id="5" name="Rounded Rectangle 4">
              <a:extLst>
                <a:ext uri="{FF2B5EF4-FFF2-40B4-BE49-F238E27FC236}">
                  <a16:creationId xmlns:a16="http://schemas.microsoft.com/office/drawing/2014/main" id="{6891FAA7-FB62-FF1E-DC1D-22AD74DFDE4A}"/>
                </a:ext>
              </a:extLst>
            </p:cNvPr>
            <p:cNvSpPr/>
            <p:nvPr/>
          </p:nvSpPr>
          <p:spPr>
            <a:xfrm>
              <a:off x="8566377" y="4865432"/>
              <a:ext cx="1429246" cy="1385205"/>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latin typeface="TT Commons Pro" panose="020B0103030102020204" pitchFamily="34" charset="77"/>
              </a:endParaRPr>
            </a:p>
          </p:txBody>
        </p:sp>
        <p:pic>
          <p:nvPicPr>
            <p:cNvPr id="3" name="Picture 2" descr="A yellow letter on a black background&#10;&#10;AI-generated content may be incorrect.">
              <a:extLst>
                <a:ext uri="{FF2B5EF4-FFF2-40B4-BE49-F238E27FC236}">
                  <a16:creationId xmlns:a16="http://schemas.microsoft.com/office/drawing/2014/main" id="{0E61251A-FD14-62AD-2861-09599ACF7AE2}"/>
                </a:ext>
              </a:extLst>
            </p:cNvPr>
            <p:cNvPicPr>
              <a:picLocks noChangeAspect="1"/>
            </p:cNvPicPr>
            <p:nvPr/>
          </p:nvPicPr>
          <p:blipFill>
            <a:blip r:embed="rId6"/>
            <a:stretch>
              <a:fillRect/>
            </a:stretch>
          </p:blipFill>
          <p:spPr>
            <a:xfrm>
              <a:off x="8712281" y="4998518"/>
              <a:ext cx="1137439" cy="1119034"/>
            </a:xfrm>
            <a:prstGeom prst="rect">
              <a:avLst/>
            </a:prstGeom>
          </p:spPr>
        </p:pic>
      </p:grpSp>
      <p:pic>
        <p:nvPicPr>
          <p:cNvPr id="7" name="Picture 6">
            <a:extLst>
              <a:ext uri="{FF2B5EF4-FFF2-40B4-BE49-F238E27FC236}">
                <a16:creationId xmlns:a16="http://schemas.microsoft.com/office/drawing/2014/main" id="{692D8A30-FDEA-32C7-5903-ADD697EB7777}"/>
              </a:ext>
            </a:extLst>
          </p:cNvPr>
          <p:cNvPicPr>
            <a:picLocks noChangeAspect="1"/>
          </p:cNvPicPr>
          <p:nvPr/>
        </p:nvPicPr>
        <p:blipFill>
          <a:blip r:embed="rId7"/>
          <a:stretch>
            <a:fillRect/>
          </a:stretch>
        </p:blipFill>
        <p:spPr>
          <a:xfrm>
            <a:off x="479379" y="3263206"/>
            <a:ext cx="2135484" cy="2135484"/>
          </a:xfrm>
          <a:prstGeom prst="rect">
            <a:avLst/>
          </a:prstGeom>
        </p:spPr>
      </p:pic>
    </p:spTree>
    <p:extLst>
      <p:ext uri="{BB962C8B-B14F-4D97-AF65-F5344CB8AC3E}">
        <p14:creationId xmlns:p14="http://schemas.microsoft.com/office/powerpoint/2010/main" val="1272469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up)">
                                      <p:cBhvr>
                                        <p:cTn id="11" dur="500"/>
                                        <p:tgtEl>
                                          <p:spTgt spid="21"/>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wipe(left)">
                                      <p:cBhvr>
                                        <p:cTn id="1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animBg="1"/>
      <p:bldP spid="2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8F00D-A18B-E6D3-E50E-3D893A3D846B}"/>
            </a:ext>
          </a:extLst>
        </p:cNvPr>
        <p:cNvGrpSpPr/>
        <p:nvPr/>
      </p:nvGrpSpPr>
      <p:grpSpPr>
        <a:xfrm>
          <a:off x="0" y="0"/>
          <a:ext cx="0" cy="0"/>
          <a:chOff x="0" y="0"/>
          <a:chExt cx="0" cy="0"/>
        </a:xfrm>
      </p:grpSpPr>
      <p:sp>
        <p:nvSpPr>
          <p:cNvPr id="95" name="Title 3">
            <a:extLst>
              <a:ext uri="{FF2B5EF4-FFF2-40B4-BE49-F238E27FC236}">
                <a16:creationId xmlns:a16="http://schemas.microsoft.com/office/drawing/2014/main" id="{D010F740-C627-5730-4EF8-47EE774D2FA8}"/>
              </a:ext>
            </a:extLst>
          </p:cNvPr>
          <p:cNvSpPr txBox="1">
            <a:spLocks/>
          </p:cNvSpPr>
          <p:nvPr/>
        </p:nvSpPr>
        <p:spPr>
          <a:xfrm>
            <a:off x="383117" y="268291"/>
            <a:ext cx="11298599" cy="88407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5200" b="1" i="0" kern="1200">
                <a:solidFill>
                  <a:schemeClr val="bg1"/>
                </a:solidFill>
                <a:latin typeface="Tiempos Headline Semibold" panose="02020703060303060403" pitchFamily="18" charset="77"/>
                <a:ea typeface="+mj-ea"/>
                <a:cs typeface="Times New Roman" panose="02020603050405020304" pitchFamily="18" charset="0"/>
              </a:defRPr>
            </a:lvl1pPr>
          </a:lstStyle>
          <a:p>
            <a:r>
              <a:rPr lang="en-US" sz="4800"/>
              <a:t>AI-Assisted Artwork Updates</a:t>
            </a:r>
          </a:p>
        </p:txBody>
      </p:sp>
      <p:pic>
        <p:nvPicPr>
          <p:cNvPr id="4" name="Picture 3">
            <a:extLst>
              <a:ext uri="{FF2B5EF4-FFF2-40B4-BE49-F238E27FC236}">
                <a16:creationId xmlns:a16="http://schemas.microsoft.com/office/drawing/2014/main" id="{6C65E39D-FB8D-7223-9D39-FA0992C0F19E}"/>
              </a:ext>
            </a:extLst>
          </p:cNvPr>
          <p:cNvPicPr>
            <a:picLocks noChangeAspect="1"/>
          </p:cNvPicPr>
          <p:nvPr/>
        </p:nvPicPr>
        <p:blipFill>
          <a:blip r:embed="rId3"/>
          <a:srcRect/>
          <a:stretch/>
        </p:blipFill>
        <p:spPr>
          <a:xfrm>
            <a:off x="3679417" y="4837787"/>
            <a:ext cx="1440496" cy="1440498"/>
          </a:xfrm>
          <a:prstGeom prst="rect">
            <a:avLst/>
          </a:prstGeom>
          <a:effectLst>
            <a:outerShdw blurRad="50800" dist="38100" dir="2700000" algn="tl" rotWithShape="0">
              <a:prstClr val="black">
                <a:alpha val="40000"/>
              </a:prstClr>
            </a:outerShdw>
          </a:effectLst>
        </p:spPr>
      </p:pic>
      <p:pic>
        <p:nvPicPr>
          <p:cNvPr id="13" name="Picture 12" descr="A logo with a black background&#10;&#10;Description automatically generated">
            <a:extLst>
              <a:ext uri="{FF2B5EF4-FFF2-40B4-BE49-F238E27FC236}">
                <a16:creationId xmlns:a16="http://schemas.microsoft.com/office/drawing/2014/main" id="{6451B944-CB9F-49DE-F5C7-EB0BE07E196E}"/>
              </a:ext>
            </a:extLst>
          </p:cNvPr>
          <p:cNvPicPr>
            <a:picLocks noChangeAspect="1"/>
          </p:cNvPicPr>
          <p:nvPr/>
        </p:nvPicPr>
        <p:blipFill>
          <a:blip r:embed="rId4"/>
          <a:stretch>
            <a:fillRect/>
          </a:stretch>
        </p:blipFill>
        <p:spPr>
          <a:xfrm>
            <a:off x="7007263" y="4865433"/>
            <a:ext cx="1420720" cy="1385204"/>
          </a:xfrm>
          <a:prstGeom prst="rect">
            <a:avLst/>
          </a:prstGeom>
          <a:ln w="19050" cap="rnd">
            <a:noFill/>
          </a:ln>
          <a:effectLst>
            <a:outerShdw blurRad="50800" dist="38100" dir="2700000" algn="tl" rotWithShape="0">
              <a:prstClr val="black">
                <a:alpha val="40000"/>
              </a:prstClr>
            </a:outerShdw>
          </a:effectLst>
        </p:spPr>
      </p:pic>
      <p:pic>
        <p:nvPicPr>
          <p:cNvPr id="15" name="Picture 14" descr="A blue and green eye with a black circle and blue lights&#10;&#10;Description automatically generated with medium confidence">
            <a:extLst>
              <a:ext uri="{FF2B5EF4-FFF2-40B4-BE49-F238E27FC236}">
                <a16:creationId xmlns:a16="http://schemas.microsoft.com/office/drawing/2014/main" id="{6695A5DA-A0EC-0B6B-C448-BCB6531790E0}"/>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961" b="89941" l="7031" r="89941">
                        <a14:foregroundMark x1="8301" y1="62891" x2="5859" y2="53809"/>
                        <a14:foregroundMark x1="5859" y1="53809" x2="7031" y2="35059"/>
                        <a14:foregroundMark x1="7031" y1="35059" x2="12402" y2="29590"/>
                        <a14:backgroundMark x1="13184" y1="77637" x2="19727" y2="82129"/>
                      </a14:backgroundRemoval>
                    </a14:imgEffect>
                  </a14:imgLayer>
                </a14:imgProps>
              </a:ext>
            </a:extLst>
          </a:blip>
          <a:stretch>
            <a:fillRect/>
          </a:stretch>
        </p:blipFill>
        <p:spPr>
          <a:xfrm>
            <a:off x="3378514" y="1152361"/>
            <a:ext cx="2135484" cy="2135484"/>
          </a:xfrm>
          <a:prstGeom prst="rect">
            <a:avLst/>
          </a:prstGeom>
          <a:effectLst>
            <a:outerShdw blurRad="218003" dist="38100" dir="8100000" sx="102000" sy="102000" algn="tr" rotWithShape="0">
              <a:schemeClr val="bg1">
                <a:alpha val="24752"/>
              </a:schemeClr>
            </a:outerShdw>
          </a:effectLst>
        </p:spPr>
      </p:pic>
      <p:sp>
        <p:nvSpPr>
          <p:cNvPr id="16" name="Bent Arrow 15">
            <a:extLst>
              <a:ext uri="{FF2B5EF4-FFF2-40B4-BE49-F238E27FC236}">
                <a16:creationId xmlns:a16="http://schemas.microsoft.com/office/drawing/2014/main" id="{4E5C33AE-6DE6-150C-2F4E-F9662863D3C0}"/>
              </a:ext>
            </a:extLst>
          </p:cNvPr>
          <p:cNvSpPr/>
          <p:nvPr/>
        </p:nvSpPr>
        <p:spPr>
          <a:xfrm>
            <a:off x="1322593" y="1835467"/>
            <a:ext cx="1966508" cy="1427739"/>
          </a:xfrm>
          <a:prstGeom prst="bentArrow">
            <a:avLst/>
          </a:prstGeom>
          <a:solidFill>
            <a:srgbClr val="FFFFFF"/>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defTabSz="914378" eaLnBrk="0" fontAlgn="base" hangingPunct="0">
              <a:spcBef>
                <a:spcPct val="0"/>
              </a:spcBef>
              <a:spcAft>
                <a:spcPct val="0"/>
              </a:spcAft>
            </a:pPr>
            <a:endParaRPr lang="en-US" sz="1600" kern="0">
              <a:solidFill>
                <a:srgbClr val="FFFFFF"/>
              </a:solidFill>
              <a:latin typeface="TT Commons Pro" panose="020B0103030102020204" pitchFamily="34" charset="77"/>
            </a:endParaRPr>
          </a:p>
        </p:txBody>
      </p:sp>
      <p:sp>
        <p:nvSpPr>
          <p:cNvPr id="18" name="Content Placeholder 3">
            <a:extLst>
              <a:ext uri="{FF2B5EF4-FFF2-40B4-BE49-F238E27FC236}">
                <a16:creationId xmlns:a16="http://schemas.microsoft.com/office/drawing/2014/main" id="{85DF8DD8-640F-F94C-069E-5196145EA74E}"/>
              </a:ext>
            </a:extLst>
          </p:cNvPr>
          <p:cNvSpPr txBox="1">
            <a:spLocks/>
          </p:cNvSpPr>
          <p:nvPr/>
        </p:nvSpPr>
        <p:spPr>
          <a:xfrm>
            <a:off x="5711141" y="2104882"/>
            <a:ext cx="5433683" cy="2135484"/>
          </a:xfrm>
          <a:prstGeom prst="rect">
            <a:avLst/>
          </a:prstGeom>
          <a:solidFill>
            <a:schemeClr val="tx2">
              <a:lumMod val="50000"/>
            </a:schemeClr>
          </a:solidFill>
          <a:effectLst>
            <a:outerShdw blurRad="50800" dist="88900" dir="2700000" algn="tl" rotWithShape="0">
              <a:schemeClr val="tx2">
                <a:lumMod val="40000"/>
                <a:lumOff val="60000"/>
                <a:alpha val="56000"/>
              </a:schemeClr>
            </a:outerShdw>
          </a:effectLst>
        </p:spPr>
        <p:txBody>
          <a:bodyPr vert="horz" lIns="182880" tIns="45720" rIns="182880" bIns="45720" rtlCol="0" anchor="ctr">
            <a:normAutofit/>
          </a:bodyPr>
          <a:lstStyle>
            <a:lvl1pPr marL="0" indent="0" algn="l" defTabSz="914400" rtl="0" eaLnBrk="1" latinLnBrk="0" hangingPunct="1">
              <a:lnSpc>
                <a:spcPct val="90000"/>
              </a:lnSpc>
              <a:spcBef>
                <a:spcPts val="1000"/>
              </a:spcBef>
              <a:buFontTx/>
              <a:buNone/>
              <a:defRPr sz="1800" b="0" i="0" kern="1200">
                <a:solidFill>
                  <a:schemeClr val="bg1"/>
                </a:solidFill>
                <a:latin typeface="TT Commons Light" panose="02000506030000020003" pitchFamily="2" charset="77"/>
                <a:ea typeface="+mn-ea"/>
                <a:cs typeface="Arial" panose="020B0604020202020204" pitchFamily="34" charset="0"/>
              </a:defRPr>
            </a:lvl1pPr>
            <a:lvl2pPr marL="457200" indent="0" algn="ctr" defTabSz="914400" rtl="0" eaLnBrk="1" latinLnBrk="0" hangingPunct="1">
              <a:lnSpc>
                <a:spcPct val="90000"/>
              </a:lnSpc>
              <a:spcBef>
                <a:spcPts val="500"/>
              </a:spcBef>
              <a:buFontTx/>
              <a:buNone/>
              <a:defRPr sz="2000" b="0" i="0" kern="1200">
                <a:solidFill>
                  <a:schemeClr val="tx2"/>
                </a:solidFill>
                <a:latin typeface="TT Commons Light" panose="02000506030000020003" pitchFamily="2" charset="77"/>
                <a:ea typeface="+mn-ea"/>
                <a:cs typeface="Arial" panose="020B0604020202020204" pitchFamily="34" charset="0"/>
              </a:defRPr>
            </a:lvl2pPr>
            <a:lvl3pPr marL="914400" indent="0" algn="ctr" defTabSz="914400" rtl="0" eaLnBrk="1" latinLnBrk="0" hangingPunct="1">
              <a:lnSpc>
                <a:spcPct val="90000"/>
              </a:lnSpc>
              <a:spcBef>
                <a:spcPts val="500"/>
              </a:spcBef>
              <a:buClr>
                <a:schemeClr val="accent1"/>
              </a:buClr>
              <a:buFont typeface="Wingdings" pitchFamily="2" charset="2"/>
              <a:buNone/>
              <a:defRPr sz="1800" b="0" i="0" kern="1200">
                <a:solidFill>
                  <a:schemeClr val="tx2"/>
                </a:solidFill>
                <a:latin typeface="TT Commons Light" panose="02000506030000020003" pitchFamily="2" charset="77"/>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2"/>
                </a:solidFill>
                <a:latin typeface="TT Commons Light" panose="02000506030000020003" pitchFamily="2" charset="77"/>
                <a:ea typeface="+mn-ea"/>
                <a:cs typeface="Arial" panose="020B0604020202020204" pitchFamily="34" charset="0"/>
              </a:defRPr>
            </a:lvl4pPr>
            <a:lvl5pPr marL="1828800" indent="0" algn="ctr" defTabSz="914400" rtl="0" eaLnBrk="1" latinLnBrk="0" hangingPunct="1">
              <a:lnSpc>
                <a:spcPct val="90000"/>
              </a:lnSpc>
              <a:spcBef>
                <a:spcPts val="500"/>
              </a:spcBef>
              <a:buClr>
                <a:schemeClr val="accent1"/>
              </a:buClr>
              <a:buFont typeface="Arial" panose="020B0604020202020204" pitchFamily="34" charset="0"/>
              <a:buNone/>
              <a:defRPr sz="1600" b="0" i="0" kern="1200">
                <a:solidFill>
                  <a:schemeClr val="tx2"/>
                </a:solidFill>
                <a:latin typeface="TT Commons Light" panose="02000506030000020003" pitchFamily="2" charset="77"/>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457200" marR="0" lvl="0" indent="-457200" algn="l" defTabSz="914378" rtl="0" eaLnBrk="0" fontAlgn="base" latinLnBrk="0" hangingPunct="0">
              <a:lnSpc>
                <a:spcPct val="100000"/>
              </a:lnSpc>
              <a:spcBef>
                <a:spcPts val="600"/>
              </a:spcBef>
              <a:spcAft>
                <a:spcPts val="600"/>
              </a:spcAft>
              <a:buClrTx/>
              <a:buSzTx/>
              <a:buFont typeface="+mj-lt"/>
              <a:buAutoNum type="arabicPeriod"/>
              <a:tabLst/>
              <a:defRPr/>
            </a:pPr>
            <a:r>
              <a:rPr lang="en-US" sz="2000">
                <a:latin typeface="TT Commons Pro Light" panose="020B0103030102020204" pitchFamily="34" charset="77"/>
              </a:rPr>
              <a:t>Word file scanned using LLM Import Agent</a:t>
            </a:r>
          </a:p>
          <a:p>
            <a:pPr marL="457200" marR="0" lvl="0" indent="-457200" algn="l" defTabSz="914378" rtl="0" eaLnBrk="0" fontAlgn="base" latinLnBrk="0" hangingPunct="0">
              <a:lnSpc>
                <a:spcPct val="100000"/>
              </a:lnSpc>
              <a:spcBef>
                <a:spcPts val="600"/>
              </a:spcBef>
              <a:spcAft>
                <a:spcPts val="600"/>
              </a:spcAft>
              <a:buClrTx/>
              <a:buSzTx/>
              <a:buFont typeface="+mj-lt"/>
              <a:buAutoNum type="arabicPeriod"/>
              <a:tabLst/>
              <a:defRPr/>
            </a:pPr>
            <a:r>
              <a:rPr lang="en-US" sz="2000">
                <a:latin typeface="TT Commons Pro Light" panose="020B0103030102020204" pitchFamily="34" charset="77"/>
              </a:rPr>
              <a:t>Content organized in Content database</a:t>
            </a:r>
          </a:p>
          <a:p>
            <a:pPr marL="457200" marR="0" lvl="0" indent="-457200" algn="l" defTabSz="914378" rtl="0" eaLnBrk="0" fontAlgn="base" latinLnBrk="0" hangingPunct="0">
              <a:lnSpc>
                <a:spcPct val="100000"/>
              </a:lnSpc>
              <a:spcBef>
                <a:spcPts val="600"/>
              </a:spcBef>
              <a:spcAft>
                <a:spcPts val="600"/>
              </a:spcAft>
              <a:buClrTx/>
              <a:buSzTx/>
              <a:buFont typeface="+mj-lt"/>
              <a:buAutoNum type="arabicPeriod"/>
              <a:tabLst/>
              <a:defRPr/>
            </a:pPr>
            <a:r>
              <a:rPr lang="en-US" sz="2000">
                <a:latin typeface="TT Commons Pro Light" panose="020B0103030102020204" pitchFamily="34" charset="77"/>
              </a:rPr>
              <a:t>Content then flows into InDesign and is verified &amp; accepted by production artist</a:t>
            </a:r>
          </a:p>
        </p:txBody>
      </p:sp>
      <p:pic>
        <p:nvPicPr>
          <p:cNvPr id="19" name="Graphic 18">
            <a:extLst>
              <a:ext uri="{FF2B5EF4-FFF2-40B4-BE49-F238E27FC236}">
                <a16:creationId xmlns:a16="http://schemas.microsoft.com/office/drawing/2014/main" id="{B3746878-8FFE-DBE1-8A8C-B9D7F4ACC5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8672" y="3462382"/>
            <a:ext cx="1691817" cy="1691817"/>
          </a:xfrm>
          <a:prstGeom prst="rect">
            <a:avLst/>
          </a:prstGeom>
          <a:effectLst>
            <a:outerShdw blurRad="50800" dist="38100" dir="2700000" algn="tl" rotWithShape="0">
              <a:prstClr val="black">
                <a:alpha val="40000"/>
              </a:prstClr>
            </a:outerShdw>
          </a:effectLst>
        </p:spPr>
      </p:pic>
      <p:sp>
        <p:nvSpPr>
          <p:cNvPr id="20" name="Down Arrow 19">
            <a:extLst>
              <a:ext uri="{FF2B5EF4-FFF2-40B4-BE49-F238E27FC236}">
                <a16:creationId xmlns:a16="http://schemas.microsoft.com/office/drawing/2014/main" id="{A73B735D-6861-A2C3-EE11-503439B62B70}"/>
              </a:ext>
            </a:extLst>
          </p:cNvPr>
          <p:cNvSpPr/>
          <p:nvPr/>
        </p:nvSpPr>
        <p:spPr>
          <a:xfrm rot="16200000">
            <a:off x="5706378" y="4892131"/>
            <a:ext cx="701365" cy="1331809"/>
          </a:xfrm>
          <a:prstGeom prst="downArrow">
            <a:avLst/>
          </a:prstGeom>
          <a:solidFill>
            <a:schemeClr val="bg1"/>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1600" u="none" strike="noStrike" kern="0" cap="none" spc="0" normalizeH="0" baseline="0" noProof="0">
              <a:ln>
                <a:noFill/>
              </a:ln>
              <a:solidFill>
                <a:srgbClr val="FFFFFF"/>
              </a:solidFill>
              <a:effectLst/>
              <a:uLnTx/>
              <a:uFillTx/>
              <a:latin typeface="TT Commons Pro" panose="020B0103030102020204" pitchFamily="34" charset="77"/>
              <a:ea typeface="+mn-ea"/>
              <a:cs typeface="+mn-cs"/>
            </a:endParaRPr>
          </a:p>
        </p:txBody>
      </p:sp>
      <p:sp>
        <p:nvSpPr>
          <p:cNvPr id="21" name="Down Arrow 20">
            <a:extLst>
              <a:ext uri="{FF2B5EF4-FFF2-40B4-BE49-F238E27FC236}">
                <a16:creationId xmlns:a16="http://schemas.microsoft.com/office/drawing/2014/main" id="{20C9C66C-F1DC-65F8-3B70-E87A977AC65E}"/>
              </a:ext>
            </a:extLst>
          </p:cNvPr>
          <p:cNvSpPr/>
          <p:nvPr/>
        </p:nvSpPr>
        <p:spPr>
          <a:xfrm>
            <a:off x="4048982" y="3263206"/>
            <a:ext cx="701365" cy="1331809"/>
          </a:xfrm>
          <a:prstGeom prst="downArrow">
            <a:avLst/>
          </a:prstGeom>
          <a:solidFill>
            <a:schemeClr val="bg1"/>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378" rtl="0" eaLnBrk="0" fontAlgn="base" latinLnBrk="0" hangingPunct="0">
              <a:lnSpc>
                <a:spcPct val="100000"/>
              </a:lnSpc>
              <a:spcBef>
                <a:spcPct val="0"/>
              </a:spcBef>
              <a:spcAft>
                <a:spcPct val="0"/>
              </a:spcAft>
              <a:buClrTx/>
              <a:buSzTx/>
              <a:buFontTx/>
              <a:buNone/>
              <a:tabLst/>
              <a:defRPr/>
            </a:pPr>
            <a:endParaRPr kumimoji="0" lang="en-US" sz="1600" u="none" strike="noStrike" kern="0" cap="none" spc="0" normalizeH="0" baseline="0" noProof="0">
              <a:ln>
                <a:noFill/>
              </a:ln>
              <a:solidFill>
                <a:srgbClr val="FFFFFF"/>
              </a:solidFill>
              <a:effectLst/>
              <a:uLnTx/>
              <a:uFillTx/>
              <a:latin typeface="TT Commons Pro" panose="020B0103030102020204" pitchFamily="34" charset="77"/>
              <a:ea typeface="+mn-ea"/>
              <a:cs typeface="+mn-cs"/>
            </a:endParaRPr>
          </a:p>
        </p:txBody>
      </p:sp>
    </p:spTree>
    <p:extLst>
      <p:ext uri="{BB962C8B-B14F-4D97-AF65-F5344CB8AC3E}">
        <p14:creationId xmlns:p14="http://schemas.microsoft.com/office/powerpoint/2010/main" val="548139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up)">
                                      <p:cBhvr>
                                        <p:cTn id="11" dur="500"/>
                                        <p:tgtEl>
                                          <p:spTgt spid="21"/>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wipe(left)">
                                      <p:cBhvr>
                                        <p:cTn id="1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animBg="1"/>
      <p:bldP spid="2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39B03-2143-58AB-A9DD-ADDDB58547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70E743-E8D0-9CA5-2F1C-636031FC7B65}"/>
              </a:ext>
            </a:extLst>
          </p:cNvPr>
          <p:cNvSpPr>
            <a:spLocks noGrp="1"/>
          </p:cNvSpPr>
          <p:nvPr>
            <p:ph type="ctrTitle"/>
          </p:nvPr>
        </p:nvSpPr>
        <p:spPr/>
        <p:txBody>
          <a:bodyPr/>
          <a:lstStyle/>
          <a:p>
            <a:r>
              <a:rPr lang="en-US">
                <a:cs typeface="Times New Roman"/>
              </a:rPr>
              <a:t>Introduction</a:t>
            </a:r>
            <a:endParaRPr lang="en-US"/>
          </a:p>
        </p:txBody>
      </p:sp>
    </p:spTree>
    <p:extLst>
      <p:ext uri="{BB962C8B-B14F-4D97-AF65-F5344CB8AC3E}">
        <p14:creationId xmlns:p14="http://schemas.microsoft.com/office/powerpoint/2010/main" val="409173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0">
              <a:srgbClr val="576575"/>
            </a:gs>
            <a:gs pos="100000">
              <a:srgbClr val="303336"/>
            </a:gs>
          </a:gsLst>
          <a:lin ang="7200000" scaled="0"/>
        </a:gradFill>
        <a:effectLst/>
      </p:bgPr>
    </p:bg>
    <p:spTree>
      <p:nvGrpSpPr>
        <p:cNvPr id="1" name="">
          <a:extLst>
            <a:ext uri="{FF2B5EF4-FFF2-40B4-BE49-F238E27FC236}">
              <a16:creationId xmlns:a16="http://schemas.microsoft.com/office/drawing/2014/main" id="{95468909-4257-11E8-E487-E8090F209654}"/>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DD3DCA63-914F-B630-F3AE-470DD87031D9}"/>
              </a:ext>
            </a:extLst>
          </p:cNvPr>
          <p:cNvSpPr txBox="1">
            <a:spLocks/>
          </p:cNvSpPr>
          <p:nvPr/>
        </p:nvSpPr>
        <p:spPr>
          <a:xfrm>
            <a:off x="365759" y="382864"/>
            <a:ext cx="10030098" cy="73701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800" b="1" i="0" kern="1200">
                <a:solidFill>
                  <a:schemeClr val="tx2"/>
                </a:solidFill>
                <a:latin typeface="Tiempos Headline Semibold" panose="02020703060303060403" pitchFamily="18" charset="77"/>
                <a:ea typeface="+mj-ea"/>
                <a:cs typeface="Times New Roman" panose="02020603050405020304" pitchFamily="18" charset="0"/>
              </a:defRPr>
            </a:lvl1pPr>
          </a:lstStyle>
          <a:p>
            <a:r>
              <a:rPr lang="en-US">
                <a:solidFill>
                  <a:schemeClr val="bg1"/>
                </a:solidFill>
              </a:rPr>
              <a:t>Two AI Assistance Examples</a:t>
            </a:r>
          </a:p>
        </p:txBody>
      </p:sp>
      <p:pic>
        <p:nvPicPr>
          <p:cNvPr id="16" name="Picture 15">
            <a:extLst>
              <a:ext uri="{FF2B5EF4-FFF2-40B4-BE49-F238E27FC236}">
                <a16:creationId xmlns:a16="http://schemas.microsoft.com/office/drawing/2014/main" id="{F72F3031-1CF3-0F6C-E1ED-A8006688FDE2}"/>
              </a:ext>
            </a:extLst>
          </p:cNvPr>
          <p:cNvPicPr>
            <a:picLocks noChangeAspect="1"/>
          </p:cNvPicPr>
          <p:nvPr/>
        </p:nvPicPr>
        <p:blipFill>
          <a:blip r:embed="rId3"/>
          <a:srcRect/>
          <a:stretch/>
        </p:blipFill>
        <p:spPr>
          <a:xfrm>
            <a:off x="2733110" y="3130338"/>
            <a:ext cx="2546206" cy="1841937"/>
          </a:xfrm>
          <a:prstGeom prst="rect">
            <a:avLst/>
          </a:prstGeom>
          <a:noFill/>
          <a:scene3d>
            <a:camera prst="isometricOffAxis1Left">
              <a:rot lat="1080000" lon="1800000" rev="0"/>
            </a:camera>
            <a:lightRig rig="threePt" dir="t"/>
          </a:scene3d>
          <a:sp3d/>
        </p:spPr>
      </p:pic>
      <p:sp>
        <p:nvSpPr>
          <p:cNvPr id="15" name="Triangle 14">
            <a:extLst>
              <a:ext uri="{FF2B5EF4-FFF2-40B4-BE49-F238E27FC236}">
                <a16:creationId xmlns:a16="http://schemas.microsoft.com/office/drawing/2014/main" id="{4C69BCA3-D356-58BF-FBC0-51AA7A846CCE}"/>
              </a:ext>
            </a:extLst>
          </p:cNvPr>
          <p:cNvSpPr/>
          <p:nvPr/>
        </p:nvSpPr>
        <p:spPr>
          <a:xfrm rot="5400000" flipH="1" flipV="1">
            <a:off x="1832079" y="2800360"/>
            <a:ext cx="1739216" cy="2399170"/>
          </a:xfrm>
          <a:prstGeom prst="triangle">
            <a:avLst>
              <a:gd name="adj" fmla="val 65117"/>
            </a:avLst>
          </a:prstGeom>
          <a:solidFill>
            <a:schemeClr val="bg1">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srgbClr val="FFFFFF"/>
              </a:solidFill>
              <a:effectLst/>
              <a:uLnTx/>
              <a:uFillTx/>
              <a:latin typeface="TT Commons Pro" panose="020B0103030102020204" pitchFamily="34" charset="77"/>
              <a:ea typeface="+mn-ea"/>
              <a:cs typeface="+mn-cs"/>
            </a:endParaRPr>
          </a:p>
        </p:txBody>
      </p:sp>
      <p:pic>
        <p:nvPicPr>
          <p:cNvPr id="12" name="Picture 11" descr="A blue and green eye with a black circle and blue lights&#10;&#10;Description automatically generated with medium confidence">
            <a:extLst>
              <a:ext uri="{FF2B5EF4-FFF2-40B4-BE49-F238E27FC236}">
                <a16:creationId xmlns:a16="http://schemas.microsoft.com/office/drawing/2014/main" id="{D898E5AB-3EB0-0E35-789E-F0FE385226E0}"/>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961" b="89941" l="7031" r="89941">
                        <a14:foregroundMark x1="8301" y1="62891" x2="5859" y2="53809"/>
                        <a14:foregroundMark x1="5859" y1="53809" x2="7031" y2="35059"/>
                        <a14:foregroundMark x1="7031" y1="35059" x2="12402" y2="29590"/>
                        <a14:backgroundMark x1="13184" y1="77637" x2="19727" y2="82129"/>
                      </a14:backgroundRemoval>
                    </a14:imgEffect>
                  </a14:imgLayer>
                </a14:imgProps>
              </a:ext>
            </a:extLst>
          </a:blip>
          <a:stretch>
            <a:fillRect/>
          </a:stretch>
        </p:blipFill>
        <p:spPr>
          <a:xfrm>
            <a:off x="742170" y="3130338"/>
            <a:ext cx="1541557" cy="1541557"/>
          </a:xfrm>
          <a:prstGeom prst="rect">
            <a:avLst/>
          </a:prstGeom>
          <a:effectLst>
            <a:outerShdw blurRad="218003" dist="38100" dir="8100000" sx="102000" sy="102000" algn="tr" rotWithShape="0">
              <a:schemeClr val="bg1">
                <a:alpha val="24752"/>
              </a:schemeClr>
            </a:outerShdw>
          </a:effectLst>
        </p:spPr>
      </p:pic>
      <p:sp>
        <p:nvSpPr>
          <p:cNvPr id="10" name="TextBox 9">
            <a:extLst>
              <a:ext uri="{FF2B5EF4-FFF2-40B4-BE49-F238E27FC236}">
                <a16:creationId xmlns:a16="http://schemas.microsoft.com/office/drawing/2014/main" id="{4181BDFB-0416-FA2F-D21C-00D8A6E889E9}"/>
              </a:ext>
            </a:extLst>
          </p:cNvPr>
          <p:cNvSpPr txBox="1"/>
          <p:nvPr/>
        </p:nvSpPr>
        <p:spPr>
          <a:xfrm>
            <a:off x="742170" y="1826220"/>
            <a:ext cx="4903256" cy="523220"/>
          </a:xfrm>
          <a:prstGeom prst="rect">
            <a:avLst/>
          </a:prstGeom>
          <a:noFill/>
        </p:spPr>
        <p:txBody>
          <a:bodyPr wrap="square" rtlCol="0">
            <a:spAutoFit/>
          </a:bodyPr>
          <a:lstStyle/>
          <a:p>
            <a:pPr algn="ctr"/>
            <a:r>
              <a:rPr lang="en-US" sz="2800" b="1">
                <a:solidFill>
                  <a:schemeClr val="bg1"/>
                </a:solidFill>
                <a:latin typeface="TT Commons Pro" panose="020B0103030102020204" pitchFamily="34" charset="77"/>
              </a:rPr>
              <a:t>Compliance Checks</a:t>
            </a:r>
          </a:p>
        </p:txBody>
      </p:sp>
      <p:sp>
        <p:nvSpPr>
          <p:cNvPr id="11" name="TextBox 10">
            <a:extLst>
              <a:ext uri="{FF2B5EF4-FFF2-40B4-BE49-F238E27FC236}">
                <a16:creationId xmlns:a16="http://schemas.microsoft.com/office/drawing/2014/main" id="{EDC9B446-1485-AC5A-5735-AB0E7C2EC6A2}"/>
              </a:ext>
            </a:extLst>
          </p:cNvPr>
          <p:cNvSpPr txBox="1"/>
          <p:nvPr/>
        </p:nvSpPr>
        <p:spPr>
          <a:xfrm>
            <a:off x="5797317" y="1826220"/>
            <a:ext cx="5228486" cy="523220"/>
          </a:xfrm>
          <a:prstGeom prst="rect">
            <a:avLst/>
          </a:prstGeom>
          <a:noFill/>
        </p:spPr>
        <p:txBody>
          <a:bodyPr wrap="square" rtlCol="0">
            <a:spAutoFit/>
          </a:bodyPr>
          <a:lstStyle/>
          <a:p>
            <a:pPr algn="ctr"/>
            <a:r>
              <a:rPr lang="en-US" sz="2800" b="1">
                <a:solidFill>
                  <a:schemeClr val="bg1"/>
                </a:solidFill>
                <a:latin typeface="TT Commons Pro" panose="020B0103030102020204" pitchFamily="34" charset="77"/>
              </a:rPr>
              <a:t>Automated Artwork</a:t>
            </a:r>
          </a:p>
        </p:txBody>
      </p:sp>
      <p:pic>
        <p:nvPicPr>
          <p:cNvPr id="20" name="Picture 19" descr="A green arrow pointing upwards&#10;&#10;AI-generated content may be incorrect.">
            <a:extLst>
              <a:ext uri="{FF2B5EF4-FFF2-40B4-BE49-F238E27FC236}">
                <a16:creationId xmlns:a16="http://schemas.microsoft.com/office/drawing/2014/main" id="{DF1F7108-DD7F-4DAE-5374-FDE3DDF1093F}"/>
              </a:ext>
            </a:extLst>
          </p:cNvPr>
          <p:cNvPicPr>
            <a:picLocks noChangeAspect="1"/>
          </p:cNvPicPr>
          <p:nvPr/>
        </p:nvPicPr>
        <p:blipFill>
          <a:blip r:embed="rId6"/>
          <a:stretch>
            <a:fillRect/>
          </a:stretch>
        </p:blipFill>
        <p:spPr>
          <a:xfrm rot="3893089">
            <a:off x="8789289" y="3518566"/>
            <a:ext cx="901078" cy="880053"/>
          </a:xfrm>
          <a:prstGeom prst="rect">
            <a:avLst/>
          </a:prstGeom>
        </p:spPr>
      </p:pic>
      <p:grpSp>
        <p:nvGrpSpPr>
          <p:cNvPr id="21" name="Group 20">
            <a:extLst>
              <a:ext uri="{FF2B5EF4-FFF2-40B4-BE49-F238E27FC236}">
                <a16:creationId xmlns:a16="http://schemas.microsoft.com/office/drawing/2014/main" id="{B3B684A4-8A34-8ECA-4427-F78A39194362}"/>
              </a:ext>
            </a:extLst>
          </p:cNvPr>
          <p:cNvGrpSpPr/>
          <p:nvPr/>
        </p:nvGrpSpPr>
        <p:grpSpPr>
          <a:xfrm>
            <a:off x="6337093" y="2728320"/>
            <a:ext cx="2462350" cy="3118277"/>
            <a:chOff x="356732" y="2643501"/>
            <a:chExt cx="1648899" cy="2135130"/>
          </a:xfrm>
        </p:grpSpPr>
        <p:sp>
          <p:nvSpPr>
            <p:cNvPr id="22" name="Rectangle 21">
              <a:extLst>
                <a:ext uri="{FF2B5EF4-FFF2-40B4-BE49-F238E27FC236}">
                  <a16:creationId xmlns:a16="http://schemas.microsoft.com/office/drawing/2014/main" id="{6B353618-DF2E-2FC9-A8B0-BAF37F68432B}"/>
                </a:ext>
              </a:extLst>
            </p:cNvPr>
            <p:cNvSpPr/>
            <p:nvPr/>
          </p:nvSpPr>
          <p:spPr>
            <a:xfrm>
              <a:off x="356732" y="2643501"/>
              <a:ext cx="1648899" cy="2135130"/>
            </a:xfrm>
            <a:prstGeom prst="rect">
              <a:avLst/>
            </a:prstGeom>
            <a:solidFill>
              <a:schemeClr val="bg1"/>
            </a:solidFill>
            <a:ln w="6350">
              <a:solidFill>
                <a:schemeClr val="tx1"/>
              </a:solidFill>
            </a:ln>
            <a:effectLst>
              <a:outerShdw blurRad="177800" dist="88900" dir="2700000" algn="tl"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T Commons Pro" panose="020B0103030102020204" pitchFamily="34" charset="77"/>
              </a:endParaRPr>
            </a:p>
          </p:txBody>
        </p:sp>
        <p:pic>
          <p:nvPicPr>
            <p:cNvPr id="23" name="Picture 22" descr="Table&#10;&#10;Description automatically generated">
              <a:extLst>
                <a:ext uri="{FF2B5EF4-FFF2-40B4-BE49-F238E27FC236}">
                  <a16:creationId xmlns:a16="http://schemas.microsoft.com/office/drawing/2014/main" id="{AB4DDD6A-3A8A-91DB-FA39-E989C447CB46}"/>
                </a:ext>
              </a:extLst>
            </p:cNvPr>
            <p:cNvPicPr>
              <a:picLocks noChangeAspect="1"/>
            </p:cNvPicPr>
            <p:nvPr/>
          </p:nvPicPr>
          <p:blipFill>
            <a:blip r:embed="rId7"/>
            <a:stretch>
              <a:fillRect/>
            </a:stretch>
          </p:blipFill>
          <p:spPr>
            <a:xfrm>
              <a:off x="401642" y="2715166"/>
              <a:ext cx="1559077" cy="1991800"/>
            </a:xfrm>
            <a:prstGeom prst="rect">
              <a:avLst/>
            </a:prstGeom>
          </p:spPr>
        </p:pic>
      </p:grpSp>
      <p:sp>
        <p:nvSpPr>
          <p:cNvPr id="28" name="Subtitle 2">
            <a:extLst>
              <a:ext uri="{FF2B5EF4-FFF2-40B4-BE49-F238E27FC236}">
                <a16:creationId xmlns:a16="http://schemas.microsoft.com/office/drawing/2014/main" id="{EFB518D1-8C27-A082-63CA-5B5E9683861C}"/>
              </a:ext>
            </a:extLst>
          </p:cNvPr>
          <p:cNvSpPr txBox="1">
            <a:spLocks/>
          </p:cNvSpPr>
          <p:nvPr/>
        </p:nvSpPr>
        <p:spPr>
          <a:xfrm>
            <a:off x="8981718" y="3079308"/>
            <a:ext cx="1695523" cy="739678"/>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Tx/>
              <a:buNone/>
              <a:defRPr sz="1800" b="0" i="0" kern="1200">
                <a:solidFill>
                  <a:schemeClr val="tx2"/>
                </a:solidFill>
                <a:latin typeface="TT Commons Light" panose="02000506030000020003" pitchFamily="2" charset="77"/>
                <a:ea typeface="+mn-ea"/>
                <a:cs typeface="Arial" panose="020B0604020202020204" pitchFamily="34" charset="0"/>
              </a:defRPr>
            </a:lvl1pPr>
            <a:lvl2pPr marL="457200" indent="0" algn="ctr" defTabSz="914400" rtl="0" eaLnBrk="1" latinLnBrk="0" hangingPunct="1">
              <a:lnSpc>
                <a:spcPct val="90000"/>
              </a:lnSpc>
              <a:spcBef>
                <a:spcPts val="500"/>
              </a:spcBef>
              <a:buFontTx/>
              <a:buNone/>
              <a:defRPr sz="2000" b="0" i="0" kern="1200">
                <a:solidFill>
                  <a:schemeClr val="tx2"/>
                </a:solidFill>
                <a:latin typeface="TT Commons Light" panose="02000506030000020003" pitchFamily="2" charset="77"/>
                <a:ea typeface="+mn-ea"/>
                <a:cs typeface="Arial" panose="020B0604020202020204" pitchFamily="34" charset="0"/>
              </a:defRPr>
            </a:lvl2pPr>
            <a:lvl3pPr marL="914400" indent="0" algn="ctr" defTabSz="914400" rtl="0" eaLnBrk="1" latinLnBrk="0" hangingPunct="1">
              <a:lnSpc>
                <a:spcPct val="90000"/>
              </a:lnSpc>
              <a:spcBef>
                <a:spcPts val="500"/>
              </a:spcBef>
              <a:buClr>
                <a:schemeClr val="accent1"/>
              </a:buClr>
              <a:buFont typeface="Wingdings" pitchFamily="2" charset="2"/>
              <a:buNone/>
              <a:defRPr sz="1800" b="0" i="0" kern="1200">
                <a:solidFill>
                  <a:schemeClr val="tx2"/>
                </a:solidFill>
                <a:latin typeface="TT Commons Light" panose="02000506030000020003" pitchFamily="2" charset="77"/>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2"/>
                </a:solidFill>
                <a:latin typeface="TT Commons Light" panose="02000506030000020003" pitchFamily="2" charset="77"/>
                <a:ea typeface="+mn-ea"/>
                <a:cs typeface="Arial" panose="020B0604020202020204" pitchFamily="34" charset="0"/>
              </a:defRPr>
            </a:lvl4pPr>
            <a:lvl5pPr marL="1828800" indent="0" algn="ctr" defTabSz="914400" rtl="0" eaLnBrk="1" latinLnBrk="0" hangingPunct="1">
              <a:lnSpc>
                <a:spcPct val="90000"/>
              </a:lnSpc>
              <a:spcBef>
                <a:spcPts val="500"/>
              </a:spcBef>
              <a:buClr>
                <a:schemeClr val="accent1"/>
              </a:buClr>
              <a:buFont typeface="Arial" panose="020B0604020202020204" pitchFamily="34" charset="0"/>
              <a:buNone/>
              <a:defRPr sz="1600" b="0" i="0" kern="1200">
                <a:solidFill>
                  <a:schemeClr val="tx2"/>
                </a:solidFill>
                <a:latin typeface="TT Commons Light" panose="02000506030000020003" pitchFamily="2" charset="77"/>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1600">
                <a:solidFill>
                  <a:schemeClr val="bg1"/>
                </a:solidFill>
                <a:latin typeface="TT Commons Pro" panose="020B0103030102020204" pitchFamily="34" charset="77"/>
              </a:rPr>
              <a:t>Automated flow of content into artwork!</a:t>
            </a:r>
          </a:p>
        </p:txBody>
      </p:sp>
      <p:cxnSp>
        <p:nvCxnSpPr>
          <p:cNvPr id="30" name="Straight Connector 29">
            <a:extLst>
              <a:ext uri="{FF2B5EF4-FFF2-40B4-BE49-F238E27FC236}">
                <a16:creationId xmlns:a16="http://schemas.microsoft.com/office/drawing/2014/main" id="{C2B88432-5C9B-805A-A48B-999D9067A175}"/>
              </a:ext>
            </a:extLst>
          </p:cNvPr>
          <p:cNvCxnSpPr>
            <a:cxnSpLocks/>
          </p:cNvCxnSpPr>
          <p:nvPr/>
        </p:nvCxnSpPr>
        <p:spPr>
          <a:xfrm>
            <a:off x="5797317" y="1656524"/>
            <a:ext cx="30384" cy="4764154"/>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2" name="Rectangle 1">
            <a:extLst>
              <a:ext uri="{FF2B5EF4-FFF2-40B4-BE49-F238E27FC236}">
                <a16:creationId xmlns:a16="http://schemas.microsoft.com/office/drawing/2014/main" id="{0946CD91-617C-9F8D-6C13-821DE7D09D07}"/>
              </a:ext>
            </a:extLst>
          </p:cNvPr>
          <p:cNvSpPr/>
          <p:nvPr/>
        </p:nvSpPr>
        <p:spPr>
          <a:xfrm>
            <a:off x="0" y="6255167"/>
            <a:ext cx="12192000" cy="60283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2400" b="1">
                <a:solidFill>
                  <a:schemeClr val="bg1"/>
                </a:solidFill>
                <a:latin typeface="TT Commons Pro" panose="020B0103030102020204" pitchFamily="34" charset="77"/>
              </a:rPr>
              <a:t>AI tools for LS sector are assistants. A Human-In-The-Loop is needed</a:t>
            </a:r>
            <a:r>
              <a:rPr lang="en-US" sz="2400" b="1">
                <a:solidFill>
                  <a:schemeClr val="bg1"/>
                </a:solidFill>
                <a:latin typeface="TT Commons Pro" panose="020B0103030102020204" pitchFamily="34" charset="77"/>
              </a:rPr>
              <a:t>.</a:t>
            </a:r>
            <a:endParaRPr lang="en-CA" sz="2400" b="1">
              <a:solidFill>
                <a:schemeClr val="bg1"/>
              </a:solidFill>
              <a:latin typeface="TT Commons Pro" panose="020B0103030102020204" pitchFamily="34" charset="77"/>
            </a:endParaRPr>
          </a:p>
        </p:txBody>
      </p:sp>
      <p:pic>
        <p:nvPicPr>
          <p:cNvPr id="4" name="Picture 3" descr="A blood glucose meter in a box&#10;&#10;AI-generated content may be incorrect.">
            <a:extLst>
              <a:ext uri="{FF2B5EF4-FFF2-40B4-BE49-F238E27FC236}">
                <a16:creationId xmlns:a16="http://schemas.microsoft.com/office/drawing/2014/main" id="{471653AF-4269-6CE8-190F-6B143E0ADA6E}"/>
              </a:ext>
            </a:extLst>
          </p:cNvPr>
          <p:cNvPicPr>
            <a:picLocks noChangeAspect="1"/>
          </p:cNvPicPr>
          <p:nvPr/>
        </p:nvPicPr>
        <p:blipFill>
          <a:blip r:embed="rId8"/>
          <a:stretch>
            <a:fillRect/>
          </a:stretch>
        </p:blipFill>
        <p:spPr>
          <a:xfrm>
            <a:off x="9239827" y="3951916"/>
            <a:ext cx="2380631" cy="2305903"/>
          </a:xfrm>
          <a:prstGeom prst="rect">
            <a:avLst/>
          </a:prstGeom>
        </p:spPr>
      </p:pic>
    </p:spTree>
    <p:extLst>
      <p:ext uri="{BB962C8B-B14F-4D97-AF65-F5344CB8AC3E}">
        <p14:creationId xmlns:p14="http://schemas.microsoft.com/office/powerpoint/2010/main" val="19332763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E77A8-7902-1F8F-FC25-54B598F586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D495AD-A42F-874D-1687-2D1A672B2109}"/>
              </a:ext>
            </a:extLst>
          </p:cNvPr>
          <p:cNvSpPr>
            <a:spLocks noGrp="1"/>
          </p:cNvSpPr>
          <p:nvPr>
            <p:ph type="ctrTitle"/>
          </p:nvPr>
        </p:nvSpPr>
        <p:spPr/>
        <p:txBody>
          <a:bodyPr/>
          <a:lstStyle/>
          <a:p>
            <a:r>
              <a:rPr lang="en-US">
                <a:cs typeface="Times New Roman"/>
              </a:rPr>
              <a:t>The Connected Ecosystem:</a:t>
            </a:r>
            <a:br>
              <a:rPr lang="en-US">
                <a:cs typeface="Times New Roman"/>
              </a:rPr>
            </a:br>
            <a:r>
              <a:rPr lang="en-US">
                <a:cs typeface="Times New Roman"/>
              </a:rPr>
              <a:t>The Future State</a:t>
            </a:r>
            <a:endParaRPr lang="en-US"/>
          </a:p>
        </p:txBody>
      </p:sp>
    </p:spTree>
    <p:extLst>
      <p:ext uri="{BB962C8B-B14F-4D97-AF65-F5344CB8AC3E}">
        <p14:creationId xmlns:p14="http://schemas.microsoft.com/office/powerpoint/2010/main" val="8051355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C516C-1CDD-0EBC-702F-3B5B8918F3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FB5DA9-8BEE-639B-F8BA-9B663C1419E7}"/>
              </a:ext>
            </a:extLst>
          </p:cNvPr>
          <p:cNvSpPr>
            <a:spLocks noGrp="1"/>
          </p:cNvSpPr>
          <p:nvPr>
            <p:ph type="title"/>
          </p:nvPr>
        </p:nvSpPr>
        <p:spPr/>
        <p:txBody>
          <a:bodyPr/>
          <a:lstStyle/>
          <a:p>
            <a:r>
              <a:rPr lang="en-US" sz="5333"/>
              <a:t>A Toolkit Approach</a:t>
            </a:r>
          </a:p>
        </p:txBody>
      </p:sp>
      <p:sp>
        <p:nvSpPr>
          <p:cNvPr id="18" name="Content Placeholder 2">
            <a:extLst>
              <a:ext uri="{FF2B5EF4-FFF2-40B4-BE49-F238E27FC236}">
                <a16:creationId xmlns:a16="http://schemas.microsoft.com/office/drawing/2014/main" id="{A77BB160-E775-9150-D461-0D881A1A09E2}"/>
              </a:ext>
            </a:extLst>
          </p:cNvPr>
          <p:cNvSpPr txBox="1">
            <a:spLocks/>
          </p:cNvSpPr>
          <p:nvPr/>
        </p:nvSpPr>
        <p:spPr>
          <a:xfrm>
            <a:off x="472673" y="1559858"/>
            <a:ext cx="5473948" cy="3614460"/>
          </a:xfrm>
          <a:prstGeom prst="rect">
            <a:avLst/>
          </a:prstGeom>
        </p:spPr>
        <p:txBody>
          <a:bodyPr vert="horz" lIns="121920" tIns="60960" rIns="121920" bIns="60960" rtlCol="0">
            <a:normAutofit/>
          </a:bodyPr>
          <a:lstStyle>
            <a:lvl1pPr marL="228600" indent="-228600" algn="l" defTabSz="685800" rtl="0" eaLnBrk="1" latinLnBrk="0" hangingPunct="1">
              <a:lnSpc>
                <a:spcPct val="100000"/>
              </a:lnSpc>
              <a:spcBef>
                <a:spcPts val="750"/>
              </a:spcBef>
              <a:buFontTx/>
              <a:buBlip>
                <a:blip r:embed="rId3"/>
              </a:buBlip>
              <a:tabLst/>
              <a:defRPr sz="1600" b="0" i="0" kern="1200">
                <a:solidFill>
                  <a:schemeClr val="tx1"/>
                </a:solidFill>
                <a:latin typeface="TT Commons Pro Light" panose="020B0103030102020204" pitchFamily="34" charset="77"/>
                <a:ea typeface="+mn-ea"/>
                <a:cs typeface="Arial" panose="020B0604020202020204" pitchFamily="34" charset="0"/>
              </a:defRPr>
            </a:lvl1pPr>
            <a:lvl2pPr marL="457200" indent="-228600" algn="l" defTabSz="685800" rtl="0" eaLnBrk="1" latinLnBrk="0" hangingPunct="1">
              <a:lnSpc>
                <a:spcPct val="100000"/>
              </a:lnSpc>
              <a:spcBef>
                <a:spcPts val="375"/>
              </a:spcBef>
              <a:buClr>
                <a:schemeClr val="tx1"/>
              </a:buClr>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2pPr>
            <a:lvl3pPr marL="685800" indent="-228600" algn="l" defTabSz="685800" rtl="0" eaLnBrk="1" latinLnBrk="0" hangingPunct="1">
              <a:lnSpc>
                <a:spcPct val="100000"/>
              </a:lnSpc>
              <a:spcBef>
                <a:spcPts val="375"/>
              </a:spcBef>
              <a:buClr>
                <a:schemeClr val="accent1"/>
              </a:buClr>
              <a:buFont typeface="Wingdings" pitchFamily="2" charset="2"/>
              <a:buChar char="§"/>
              <a:tabLst/>
              <a:defRPr sz="1400" b="0" i="0" kern="1200">
                <a:solidFill>
                  <a:schemeClr val="tx1"/>
                </a:solidFill>
                <a:latin typeface="TT Commons Pro Light" panose="020B0103030102020204" pitchFamily="34" charset="77"/>
                <a:ea typeface="+mn-ea"/>
                <a:cs typeface="Arial" panose="020B0604020202020204" pitchFamily="34" charset="0"/>
              </a:defRPr>
            </a:lvl3pPr>
            <a:lvl4pPr marL="914400" indent="-228600" algn="l" defTabSz="685800" rtl="0" eaLnBrk="1" latinLnBrk="0" hangingPunct="1">
              <a:lnSpc>
                <a:spcPct val="100000"/>
              </a:lnSpc>
              <a:spcBef>
                <a:spcPts val="375"/>
              </a:spcBef>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4pPr>
            <a:lvl5pPr marL="1087438" indent="-173038" algn="l" defTabSz="685800" rtl="0" eaLnBrk="1" latinLnBrk="0" hangingPunct="1">
              <a:lnSpc>
                <a:spcPct val="100000"/>
              </a:lnSpc>
              <a:spcBef>
                <a:spcPts val="375"/>
              </a:spcBef>
              <a:buClr>
                <a:schemeClr val="accent1"/>
              </a:buClr>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377" fontAlgn="base">
              <a:spcBef>
                <a:spcPts val="1000"/>
              </a:spcBef>
              <a:spcAft>
                <a:spcPts val="800"/>
              </a:spcAft>
              <a:buNone/>
            </a:pPr>
            <a:r>
              <a:rPr lang="en-US" sz="1867" b="1">
                <a:solidFill>
                  <a:srgbClr val="FFFFFF"/>
                </a:solidFill>
                <a:latin typeface="TT Commons Pro" panose="020B0103030102020204" pitchFamily="34" charset="77"/>
              </a:rPr>
              <a:t>Historically technology providers solved isolated problems.</a:t>
            </a:r>
          </a:p>
          <a:p>
            <a:pPr marL="304792" indent="-304792" defTabSz="914377" fontAlgn="base">
              <a:spcBef>
                <a:spcPts val="1000"/>
              </a:spcBef>
              <a:spcAft>
                <a:spcPct val="0"/>
              </a:spcAft>
            </a:pPr>
            <a:r>
              <a:rPr lang="en-US" sz="1867">
                <a:solidFill>
                  <a:srgbClr val="FFFFFF"/>
                </a:solidFill>
              </a:rPr>
              <a:t>Text comparison between versions</a:t>
            </a:r>
          </a:p>
          <a:p>
            <a:pPr marL="304792" indent="-304792" defTabSz="914377" fontAlgn="base">
              <a:spcBef>
                <a:spcPts val="1000"/>
              </a:spcBef>
              <a:spcAft>
                <a:spcPct val="0"/>
              </a:spcAft>
            </a:pPr>
            <a:r>
              <a:rPr lang="en-US" sz="1867">
                <a:solidFill>
                  <a:srgbClr val="FFFFFF"/>
                </a:solidFill>
              </a:rPr>
              <a:t>Barcode and data validation</a:t>
            </a:r>
          </a:p>
          <a:p>
            <a:pPr marL="304792" indent="-304792" defTabSz="914377" fontAlgn="base">
              <a:spcBef>
                <a:spcPts val="1000"/>
              </a:spcBef>
              <a:spcAft>
                <a:spcPct val="0"/>
              </a:spcAft>
            </a:pPr>
            <a:r>
              <a:rPr lang="en-US" sz="1867">
                <a:solidFill>
                  <a:srgbClr val="FFFFFF"/>
                </a:solidFill>
              </a:rPr>
              <a:t>Workflow routing and approvals</a:t>
            </a:r>
          </a:p>
          <a:p>
            <a:pPr marL="304792" indent="-304792" defTabSz="914377" fontAlgn="base">
              <a:spcBef>
                <a:spcPts val="1000"/>
              </a:spcBef>
              <a:spcAft>
                <a:spcPct val="0"/>
              </a:spcAft>
            </a:pPr>
            <a:r>
              <a:rPr lang="en-US" sz="1867">
                <a:solidFill>
                  <a:srgbClr val="FFFFFF"/>
                </a:solidFill>
              </a:rPr>
              <a:t>Late-stage compliance checks</a:t>
            </a:r>
          </a:p>
          <a:p>
            <a:pPr marL="0" indent="0" defTabSz="914377" fontAlgn="base">
              <a:spcBef>
                <a:spcPts val="1000"/>
              </a:spcBef>
              <a:spcAft>
                <a:spcPct val="0"/>
              </a:spcAft>
              <a:buNone/>
            </a:pPr>
            <a:endParaRPr lang="en-US" sz="1867">
              <a:solidFill>
                <a:srgbClr val="FFFFFF"/>
              </a:solidFill>
            </a:endParaRPr>
          </a:p>
          <a:p>
            <a:pPr marL="0" indent="0" defTabSz="914377" fontAlgn="base">
              <a:spcBef>
                <a:spcPts val="1000"/>
              </a:spcBef>
              <a:spcAft>
                <a:spcPct val="0"/>
              </a:spcAft>
              <a:buNone/>
            </a:pPr>
            <a:r>
              <a:rPr lang="en-US" sz="1867" b="1">
                <a:solidFill>
                  <a:srgbClr val="FFFFFF"/>
                </a:solidFill>
                <a:latin typeface="TT Commons Pro" panose="020B0103030102020204" pitchFamily="34" charset="77"/>
              </a:rPr>
              <a:t>Optimizing individual steps does not improve end-to-end execution.</a:t>
            </a:r>
          </a:p>
        </p:txBody>
      </p:sp>
      <p:sp>
        <p:nvSpPr>
          <p:cNvPr id="5" name="Arrow: Pentagon 71">
            <a:extLst>
              <a:ext uri="{FF2B5EF4-FFF2-40B4-BE49-F238E27FC236}">
                <a16:creationId xmlns:a16="http://schemas.microsoft.com/office/drawing/2014/main" id="{88341662-4AEB-AAB1-D920-5430C71E9920}"/>
              </a:ext>
            </a:extLst>
          </p:cNvPr>
          <p:cNvSpPr>
            <a:spLocks/>
          </p:cNvSpPr>
          <p:nvPr/>
        </p:nvSpPr>
        <p:spPr>
          <a:xfrm>
            <a:off x="10117702" y="4200329"/>
            <a:ext cx="1169124" cy="1348128"/>
          </a:xfrm>
          <a:prstGeom prst="homePlate">
            <a:avLst>
              <a:gd name="adj" fmla="val 21061"/>
            </a:avLst>
          </a:prstGeom>
          <a:blipFill dpi="0" rotWithShape="1">
            <a:blip r:embed="rId4">
              <a:extLst>
                <a:ext uri="{28A0092B-C50C-407E-A947-70E740481C1C}">
                  <a14:useLocalDpi xmlns:a14="http://schemas.microsoft.com/office/drawing/2010/main" val="0"/>
                </a:ext>
              </a:extLst>
            </a:blip>
            <a:srcRect/>
            <a:stretch>
              <a:fillRect l="-39231" t="596" r="2290" b="360"/>
            </a:stretch>
          </a:blipFill>
          <a:ln w="38100">
            <a:solidFill>
              <a:srgbClr val="92D050"/>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467">
              <a:solidFill>
                <a:srgbClr val="000000"/>
              </a:solidFill>
              <a:latin typeface="TT Commons" panose="02000506040000020004" pitchFamily="2" charset="77"/>
            </a:endParaRPr>
          </a:p>
        </p:txBody>
      </p:sp>
      <p:sp>
        <p:nvSpPr>
          <p:cNvPr id="6" name="Arrow: Pentagon 93">
            <a:extLst>
              <a:ext uri="{FF2B5EF4-FFF2-40B4-BE49-F238E27FC236}">
                <a16:creationId xmlns:a16="http://schemas.microsoft.com/office/drawing/2014/main" id="{0D845A00-3858-990E-FFCF-5345025B82A7}"/>
              </a:ext>
            </a:extLst>
          </p:cNvPr>
          <p:cNvSpPr>
            <a:spLocks/>
          </p:cNvSpPr>
          <p:nvPr/>
        </p:nvSpPr>
        <p:spPr>
          <a:xfrm>
            <a:off x="8954625" y="4200329"/>
            <a:ext cx="1169124" cy="1348128"/>
          </a:xfrm>
          <a:prstGeom prst="homePlate">
            <a:avLst>
              <a:gd name="adj" fmla="val 21061"/>
            </a:avLst>
          </a:prstGeom>
          <a:blipFill>
            <a:blip r:embed="rId5"/>
            <a:srcRect/>
            <a:stretch>
              <a:fillRect l="-17552" t="-4163" r="-44200" b="-1278"/>
            </a:stretch>
          </a:blipFill>
          <a:ln w="38100">
            <a:solidFill>
              <a:srgbClr val="92D050"/>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467">
              <a:solidFill>
                <a:srgbClr val="000000"/>
              </a:solidFill>
              <a:latin typeface="TT Commons" panose="02000506040000020004" pitchFamily="2" charset="77"/>
            </a:endParaRPr>
          </a:p>
        </p:txBody>
      </p:sp>
      <p:sp>
        <p:nvSpPr>
          <p:cNvPr id="7" name="Rectangle 6">
            <a:extLst>
              <a:ext uri="{FF2B5EF4-FFF2-40B4-BE49-F238E27FC236}">
                <a16:creationId xmlns:a16="http://schemas.microsoft.com/office/drawing/2014/main" id="{E270BDE9-5714-58C5-2710-ED035D3F40B7}"/>
              </a:ext>
            </a:extLst>
          </p:cNvPr>
          <p:cNvSpPr>
            <a:spLocks/>
          </p:cNvSpPr>
          <p:nvPr/>
        </p:nvSpPr>
        <p:spPr>
          <a:xfrm>
            <a:off x="8912102" y="3771038"/>
            <a:ext cx="1030116" cy="422641"/>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defTabSz="1219140" eaLnBrk="0" fontAlgn="base" hangingPunct="0">
              <a:spcBef>
                <a:spcPct val="0"/>
              </a:spcBef>
              <a:spcAft>
                <a:spcPct val="0"/>
              </a:spcAft>
            </a:pPr>
            <a:r>
              <a:rPr lang="en-US" sz="800" b="1">
                <a:solidFill>
                  <a:srgbClr val="FFFFFF"/>
                </a:solidFill>
                <a:latin typeface="TT Commons Pro" panose="020B0103030102020204" pitchFamily="34" charset="77"/>
              </a:rPr>
              <a:t>Sustainability</a:t>
            </a:r>
          </a:p>
        </p:txBody>
      </p:sp>
      <p:sp>
        <p:nvSpPr>
          <p:cNvPr id="8" name="Rectangle 7">
            <a:extLst>
              <a:ext uri="{FF2B5EF4-FFF2-40B4-BE49-F238E27FC236}">
                <a16:creationId xmlns:a16="http://schemas.microsoft.com/office/drawing/2014/main" id="{6F70EB8D-D4D3-A6EE-7348-6FC2E0E13334}"/>
              </a:ext>
            </a:extLst>
          </p:cNvPr>
          <p:cNvSpPr>
            <a:spLocks/>
          </p:cNvSpPr>
          <p:nvPr/>
        </p:nvSpPr>
        <p:spPr>
          <a:xfrm>
            <a:off x="10117702" y="3771038"/>
            <a:ext cx="964085" cy="422641"/>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defTabSz="1219140" eaLnBrk="0" fontAlgn="base" hangingPunct="0">
              <a:spcBef>
                <a:spcPct val="0"/>
              </a:spcBef>
              <a:spcAft>
                <a:spcPct val="0"/>
              </a:spcAft>
            </a:pPr>
            <a:r>
              <a:rPr lang="en-US" sz="800" b="1">
                <a:solidFill>
                  <a:srgbClr val="FFFFFF"/>
                </a:solidFill>
                <a:latin typeface="TT Commons Pro" panose="020B0103030102020204" pitchFamily="34" charset="77"/>
              </a:rPr>
              <a:t>(e-)store</a:t>
            </a:r>
          </a:p>
        </p:txBody>
      </p:sp>
      <p:pic>
        <p:nvPicPr>
          <p:cNvPr id="9" name="Graphic 8" descr="Shopping cart">
            <a:extLst>
              <a:ext uri="{FF2B5EF4-FFF2-40B4-BE49-F238E27FC236}">
                <a16:creationId xmlns:a16="http://schemas.microsoft.com/office/drawing/2014/main" id="{004EEBFC-8914-CA35-D4CA-E7A7F3B35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96589" y="4714361"/>
            <a:ext cx="320855" cy="320855"/>
          </a:xfrm>
          <a:prstGeom prst="rect">
            <a:avLst/>
          </a:prstGeom>
        </p:spPr>
      </p:pic>
      <p:sp>
        <p:nvSpPr>
          <p:cNvPr id="17" name="Rectangle 16">
            <a:extLst>
              <a:ext uri="{FF2B5EF4-FFF2-40B4-BE49-F238E27FC236}">
                <a16:creationId xmlns:a16="http://schemas.microsoft.com/office/drawing/2014/main" id="{C2442343-470F-BA00-B6CB-E54696D43CCD}"/>
              </a:ext>
            </a:extLst>
          </p:cNvPr>
          <p:cNvSpPr>
            <a:spLocks/>
          </p:cNvSpPr>
          <p:nvPr/>
        </p:nvSpPr>
        <p:spPr>
          <a:xfrm>
            <a:off x="8932940" y="1477216"/>
            <a:ext cx="987504" cy="422641"/>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defTabSz="1219140" eaLnBrk="0" fontAlgn="base" hangingPunct="0">
              <a:spcBef>
                <a:spcPct val="0"/>
              </a:spcBef>
              <a:spcAft>
                <a:spcPct val="0"/>
              </a:spcAft>
            </a:pPr>
            <a:r>
              <a:rPr lang="en-US" sz="800" b="1">
                <a:solidFill>
                  <a:srgbClr val="FFFFFF"/>
                </a:solidFill>
                <a:latin typeface="TT Commons" panose="02000506040000020004" pitchFamily="2" charset="77"/>
              </a:rPr>
              <a:t>Packaging Management</a:t>
            </a:r>
          </a:p>
        </p:txBody>
      </p:sp>
      <p:sp>
        <p:nvSpPr>
          <p:cNvPr id="19" name="Rectangle 18">
            <a:extLst>
              <a:ext uri="{FF2B5EF4-FFF2-40B4-BE49-F238E27FC236}">
                <a16:creationId xmlns:a16="http://schemas.microsoft.com/office/drawing/2014/main" id="{A1C8FE26-1587-7168-5B48-6300A3CBCF6C}"/>
              </a:ext>
            </a:extLst>
          </p:cNvPr>
          <p:cNvSpPr>
            <a:spLocks/>
          </p:cNvSpPr>
          <p:nvPr/>
        </p:nvSpPr>
        <p:spPr>
          <a:xfrm>
            <a:off x="10083281" y="1477216"/>
            <a:ext cx="1003057" cy="422641"/>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defTabSz="1219140" eaLnBrk="0" fontAlgn="base" hangingPunct="0">
              <a:spcBef>
                <a:spcPct val="0"/>
              </a:spcBef>
              <a:spcAft>
                <a:spcPct val="0"/>
              </a:spcAft>
            </a:pPr>
            <a:r>
              <a:rPr lang="en-US" sz="800" b="1">
                <a:solidFill>
                  <a:srgbClr val="FFFFFF"/>
                </a:solidFill>
                <a:latin typeface="TT Commons" panose="02000506040000020004" pitchFamily="2" charset="77"/>
              </a:rPr>
              <a:t>Prepress</a:t>
            </a:r>
          </a:p>
        </p:txBody>
      </p:sp>
      <p:sp>
        <p:nvSpPr>
          <p:cNvPr id="20" name="Rectangle 19">
            <a:extLst>
              <a:ext uri="{FF2B5EF4-FFF2-40B4-BE49-F238E27FC236}">
                <a16:creationId xmlns:a16="http://schemas.microsoft.com/office/drawing/2014/main" id="{12CE47B3-5B11-A9EC-78BB-3573E82AE113}"/>
              </a:ext>
            </a:extLst>
          </p:cNvPr>
          <p:cNvSpPr>
            <a:spLocks/>
          </p:cNvSpPr>
          <p:nvPr/>
        </p:nvSpPr>
        <p:spPr>
          <a:xfrm>
            <a:off x="7776583" y="3771038"/>
            <a:ext cx="1030116" cy="422641"/>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defTabSz="1219140" eaLnBrk="0" fontAlgn="base" hangingPunct="0">
              <a:spcBef>
                <a:spcPct val="0"/>
              </a:spcBef>
              <a:spcAft>
                <a:spcPct val="0"/>
              </a:spcAft>
            </a:pPr>
            <a:r>
              <a:rPr lang="en-US" sz="800" b="1">
                <a:solidFill>
                  <a:srgbClr val="FFFFFF"/>
                </a:solidFill>
                <a:latin typeface="TT Commons Pro" panose="020B0103030102020204" pitchFamily="34" charset="77"/>
              </a:rPr>
              <a:t>Estimating Planning</a:t>
            </a:r>
          </a:p>
        </p:txBody>
      </p:sp>
      <p:sp>
        <p:nvSpPr>
          <p:cNvPr id="21" name="Rectangle 20">
            <a:extLst>
              <a:ext uri="{FF2B5EF4-FFF2-40B4-BE49-F238E27FC236}">
                <a16:creationId xmlns:a16="http://schemas.microsoft.com/office/drawing/2014/main" id="{BD9B0E4E-F6D8-2A09-28E2-3472C0749CD7}"/>
              </a:ext>
            </a:extLst>
          </p:cNvPr>
          <p:cNvSpPr>
            <a:spLocks/>
          </p:cNvSpPr>
          <p:nvPr/>
        </p:nvSpPr>
        <p:spPr>
          <a:xfrm>
            <a:off x="6661972" y="3770845"/>
            <a:ext cx="987504" cy="422641"/>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defTabSz="1219140" eaLnBrk="0" fontAlgn="base" hangingPunct="0">
              <a:spcBef>
                <a:spcPct val="0"/>
              </a:spcBef>
              <a:spcAft>
                <a:spcPct val="0"/>
              </a:spcAft>
            </a:pPr>
            <a:r>
              <a:rPr lang="en-US" sz="800" b="1">
                <a:solidFill>
                  <a:srgbClr val="FFFFFF"/>
                </a:solidFill>
                <a:latin typeface="TT Commons Pro" panose="020B0103030102020204" pitchFamily="34" charset="77"/>
              </a:rPr>
              <a:t>Color Management</a:t>
            </a:r>
          </a:p>
        </p:txBody>
      </p:sp>
      <p:sp>
        <p:nvSpPr>
          <p:cNvPr id="22" name="Arrow: Pentagon 111">
            <a:extLst>
              <a:ext uri="{FF2B5EF4-FFF2-40B4-BE49-F238E27FC236}">
                <a16:creationId xmlns:a16="http://schemas.microsoft.com/office/drawing/2014/main" id="{EAB55875-8FB9-24C9-E343-C037E9FF53A7}"/>
              </a:ext>
            </a:extLst>
          </p:cNvPr>
          <p:cNvSpPr/>
          <p:nvPr/>
        </p:nvSpPr>
        <p:spPr>
          <a:xfrm>
            <a:off x="7784515" y="4200329"/>
            <a:ext cx="1224992" cy="1348128"/>
          </a:xfrm>
          <a:prstGeom prst="homePlate">
            <a:avLst>
              <a:gd name="adj" fmla="val 21061"/>
            </a:avLst>
          </a:prstGeom>
          <a:blipFill>
            <a:blip r:embed="rId8"/>
            <a:srcRect/>
            <a:stretch>
              <a:fillRect l="-38482" t="-344" r="-42142" b="344"/>
            </a:stretch>
          </a:blipFill>
          <a:ln w="38100">
            <a:solidFill>
              <a:srgbClr val="92D050"/>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000000"/>
              </a:solidFill>
              <a:latin typeface="TT Commons" panose="02000506040000020004" pitchFamily="2" charset="77"/>
            </a:endParaRPr>
          </a:p>
        </p:txBody>
      </p:sp>
      <p:sp>
        <p:nvSpPr>
          <p:cNvPr id="23" name="Arrow: Pentagon 78">
            <a:extLst>
              <a:ext uri="{FF2B5EF4-FFF2-40B4-BE49-F238E27FC236}">
                <a16:creationId xmlns:a16="http://schemas.microsoft.com/office/drawing/2014/main" id="{BFEA6523-92A9-58C9-2E3F-1FDCFADE6917}"/>
              </a:ext>
            </a:extLst>
          </p:cNvPr>
          <p:cNvSpPr/>
          <p:nvPr/>
        </p:nvSpPr>
        <p:spPr>
          <a:xfrm>
            <a:off x="6656929" y="4200329"/>
            <a:ext cx="1224992" cy="1348128"/>
          </a:xfrm>
          <a:prstGeom prst="homePlate">
            <a:avLst>
              <a:gd name="adj" fmla="val 21061"/>
            </a:avLst>
          </a:prstGeom>
          <a:blipFill>
            <a:blip r:embed="rId9"/>
            <a:srcRect/>
            <a:stretch>
              <a:fillRect l="-9161" r="-86487"/>
            </a:stretch>
          </a:blipFill>
          <a:ln w="38100">
            <a:solidFill>
              <a:srgbClr val="92D050"/>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000000"/>
              </a:solidFill>
              <a:latin typeface="TT Commons" panose="02000506040000020004" pitchFamily="2" charset="77"/>
            </a:endParaRPr>
          </a:p>
        </p:txBody>
      </p:sp>
      <p:sp>
        <p:nvSpPr>
          <p:cNvPr id="24" name="Arrow: Pentagon 109">
            <a:extLst>
              <a:ext uri="{FF2B5EF4-FFF2-40B4-BE49-F238E27FC236}">
                <a16:creationId xmlns:a16="http://schemas.microsoft.com/office/drawing/2014/main" id="{10AB4092-E0D5-CC72-3A52-48925A6ADC90}"/>
              </a:ext>
            </a:extLst>
          </p:cNvPr>
          <p:cNvSpPr/>
          <p:nvPr/>
        </p:nvSpPr>
        <p:spPr>
          <a:xfrm>
            <a:off x="10039688" y="1898323"/>
            <a:ext cx="1224992" cy="1348128"/>
          </a:xfrm>
          <a:prstGeom prst="homePlate">
            <a:avLst>
              <a:gd name="adj" fmla="val 21061"/>
            </a:avLst>
          </a:prstGeom>
          <a:blipFill>
            <a:blip r:embed="rId10"/>
            <a:srcRect/>
            <a:stretch>
              <a:fillRect l="-523" t="-4136" r="-4487" b="-38418"/>
            </a:stretch>
          </a:blipFill>
          <a:ln w="38100">
            <a:solidFill>
              <a:srgbClr val="92D050"/>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000000"/>
              </a:solidFill>
              <a:latin typeface="TT Commons" panose="02000506040000020004" pitchFamily="2" charset="77"/>
            </a:endParaRPr>
          </a:p>
        </p:txBody>
      </p:sp>
      <p:sp>
        <p:nvSpPr>
          <p:cNvPr id="25" name="Arrow: Pentagon 10">
            <a:extLst>
              <a:ext uri="{FF2B5EF4-FFF2-40B4-BE49-F238E27FC236}">
                <a16:creationId xmlns:a16="http://schemas.microsoft.com/office/drawing/2014/main" id="{68FED442-5E1E-2C99-5443-50615A39577A}"/>
              </a:ext>
            </a:extLst>
          </p:cNvPr>
          <p:cNvSpPr/>
          <p:nvPr/>
        </p:nvSpPr>
        <p:spPr>
          <a:xfrm>
            <a:off x="8912101" y="1898323"/>
            <a:ext cx="1224992" cy="1348128"/>
          </a:xfrm>
          <a:prstGeom prst="homePlate">
            <a:avLst>
              <a:gd name="adj" fmla="val 21061"/>
            </a:avLst>
          </a:prstGeom>
          <a:blipFill>
            <a:blip r:embed="rId11"/>
            <a:srcRect/>
            <a:stretch>
              <a:fillRect l="-62678" t="-976" r="-6979" b="-1850"/>
            </a:stretch>
          </a:blipFill>
          <a:ln w="38100">
            <a:solidFill>
              <a:srgbClr val="92D050"/>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000000"/>
              </a:solidFill>
              <a:latin typeface="TT Commons" panose="02000506040000020004" pitchFamily="2" charset="77"/>
            </a:endParaRPr>
          </a:p>
        </p:txBody>
      </p:sp>
      <p:sp>
        <p:nvSpPr>
          <p:cNvPr id="29" name="Rectangle 28">
            <a:extLst>
              <a:ext uri="{FF2B5EF4-FFF2-40B4-BE49-F238E27FC236}">
                <a16:creationId xmlns:a16="http://schemas.microsoft.com/office/drawing/2014/main" id="{C2D16E9A-8F36-367B-E76F-56C1194B33ED}"/>
              </a:ext>
            </a:extLst>
          </p:cNvPr>
          <p:cNvSpPr>
            <a:spLocks/>
          </p:cNvSpPr>
          <p:nvPr/>
        </p:nvSpPr>
        <p:spPr>
          <a:xfrm>
            <a:off x="7789775" y="1477216"/>
            <a:ext cx="980328" cy="422641"/>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defTabSz="1219140" eaLnBrk="0" fontAlgn="base" hangingPunct="0">
              <a:spcBef>
                <a:spcPct val="0"/>
              </a:spcBef>
              <a:spcAft>
                <a:spcPct val="0"/>
              </a:spcAft>
            </a:pPr>
            <a:r>
              <a:rPr lang="en-US" sz="800" b="1">
                <a:solidFill>
                  <a:srgbClr val="FFFFFF"/>
                </a:solidFill>
                <a:latin typeface="TT Commons" panose="02000506040000020004" pitchFamily="2" charset="77"/>
              </a:rPr>
              <a:t>Structure</a:t>
            </a:r>
          </a:p>
        </p:txBody>
      </p:sp>
      <p:sp>
        <p:nvSpPr>
          <p:cNvPr id="30" name="Rectangle 29">
            <a:extLst>
              <a:ext uri="{FF2B5EF4-FFF2-40B4-BE49-F238E27FC236}">
                <a16:creationId xmlns:a16="http://schemas.microsoft.com/office/drawing/2014/main" id="{8D5DCF60-9FBA-C1C7-34D8-EE0B09A2441A}"/>
              </a:ext>
            </a:extLst>
          </p:cNvPr>
          <p:cNvSpPr>
            <a:spLocks/>
          </p:cNvSpPr>
          <p:nvPr/>
        </p:nvSpPr>
        <p:spPr>
          <a:xfrm>
            <a:off x="6659425" y="1477216"/>
            <a:ext cx="980327" cy="422641"/>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defTabSz="1219140" eaLnBrk="0" fontAlgn="base" hangingPunct="0">
              <a:spcBef>
                <a:spcPct val="0"/>
              </a:spcBef>
              <a:spcAft>
                <a:spcPct val="0"/>
              </a:spcAft>
              <a:defRPr/>
            </a:pPr>
            <a:r>
              <a:rPr lang="en-US" sz="800" b="1">
                <a:solidFill>
                  <a:srgbClr val="FFFFFF"/>
                </a:solidFill>
                <a:latin typeface="TT Commons" panose="02000506040000020004" pitchFamily="2" charset="77"/>
              </a:rPr>
              <a:t>Design &amp; Inspiration</a:t>
            </a:r>
          </a:p>
        </p:txBody>
      </p:sp>
      <p:sp>
        <p:nvSpPr>
          <p:cNvPr id="31" name="Arrow: Pentagon 114">
            <a:extLst>
              <a:ext uri="{FF2B5EF4-FFF2-40B4-BE49-F238E27FC236}">
                <a16:creationId xmlns:a16="http://schemas.microsoft.com/office/drawing/2014/main" id="{03C0D58F-1FCC-8BB9-82B3-8CF84B292F19}"/>
              </a:ext>
            </a:extLst>
          </p:cNvPr>
          <p:cNvSpPr/>
          <p:nvPr/>
        </p:nvSpPr>
        <p:spPr>
          <a:xfrm>
            <a:off x="7784515" y="1898323"/>
            <a:ext cx="1224992" cy="1348128"/>
          </a:xfrm>
          <a:prstGeom prst="homePlate">
            <a:avLst>
              <a:gd name="adj" fmla="val 21061"/>
            </a:avLst>
          </a:prstGeom>
          <a:blipFill>
            <a:blip r:embed="rId12"/>
            <a:stretch>
              <a:fillRect l="-76494" t="-36531" r="-2121" b="-14141"/>
            </a:stretch>
          </a:blipFill>
          <a:ln w="38100">
            <a:solidFill>
              <a:srgbClr val="92D050"/>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000000"/>
              </a:solidFill>
              <a:latin typeface="TT Commons" panose="02000506040000020004" pitchFamily="2" charset="77"/>
            </a:endParaRPr>
          </a:p>
        </p:txBody>
      </p:sp>
      <p:sp>
        <p:nvSpPr>
          <p:cNvPr id="32" name="Arrow: Pentagon 68">
            <a:extLst>
              <a:ext uri="{FF2B5EF4-FFF2-40B4-BE49-F238E27FC236}">
                <a16:creationId xmlns:a16="http://schemas.microsoft.com/office/drawing/2014/main" id="{03CC14CF-73A5-9E95-06EE-8FF009CA2E76}"/>
              </a:ext>
            </a:extLst>
          </p:cNvPr>
          <p:cNvSpPr/>
          <p:nvPr/>
        </p:nvSpPr>
        <p:spPr>
          <a:xfrm>
            <a:off x="6656929" y="1898323"/>
            <a:ext cx="1224992" cy="1348128"/>
          </a:xfrm>
          <a:prstGeom prst="homePlate">
            <a:avLst>
              <a:gd name="adj" fmla="val 21061"/>
            </a:avLst>
          </a:prstGeom>
          <a:blipFill>
            <a:blip r:embed="rId13"/>
            <a:srcRect/>
            <a:stretch>
              <a:fillRect l="-913" t="-15219" r="-4895" b="-28416"/>
            </a:stretch>
          </a:blipFill>
          <a:ln w="38100">
            <a:solidFill>
              <a:srgbClr val="FFC000"/>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000000"/>
              </a:solidFill>
              <a:latin typeface="TT Commons" panose="02000506040000020004" pitchFamily="2" charset="77"/>
            </a:endParaRPr>
          </a:p>
        </p:txBody>
      </p:sp>
      <p:pic>
        <p:nvPicPr>
          <p:cNvPr id="3" name="Picture 2" descr="System Requirements">
            <a:extLst>
              <a:ext uri="{FF2B5EF4-FFF2-40B4-BE49-F238E27FC236}">
                <a16:creationId xmlns:a16="http://schemas.microsoft.com/office/drawing/2014/main" id="{592DA406-36D9-2EEF-368A-1E0FF7B38DC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07501" y="2882685"/>
            <a:ext cx="909720" cy="90972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7" name="Picture 26" descr="A close up of a sign&#10;&#10;Description automatically generated">
            <a:extLst>
              <a:ext uri="{FF2B5EF4-FFF2-40B4-BE49-F238E27FC236}">
                <a16:creationId xmlns:a16="http://schemas.microsoft.com/office/drawing/2014/main" id="{BB72F3CE-A504-1575-473A-474332D8FE5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127904" y="2977916"/>
            <a:ext cx="711165" cy="711165"/>
          </a:xfrm>
          <a:prstGeom prst="rect">
            <a:avLst/>
          </a:prstGeom>
        </p:spPr>
      </p:pic>
      <p:pic>
        <p:nvPicPr>
          <p:cNvPr id="33" name="Picture 32">
            <a:extLst>
              <a:ext uri="{FF2B5EF4-FFF2-40B4-BE49-F238E27FC236}">
                <a16:creationId xmlns:a16="http://schemas.microsoft.com/office/drawing/2014/main" id="{4D0A1756-8A0F-B656-B94B-409CD09A028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878859" y="2977916"/>
            <a:ext cx="711165" cy="711165"/>
          </a:xfrm>
          <a:prstGeom prst="rect">
            <a:avLst/>
          </a:prstGeom>
        </p:spPr>
      </p:pic>
      <p:pic>
        <p:nvPicPr>
          <p:cNvPr id="34" name="Picture 33" descr="A picture containing object&#10;&#10;Description automatically generated">
            <a:extLst>
              <a:ext uri="{FF2B5EF4-FFF2-40B4-BE49-F238E27FC236}">
                <a16:creationId xmlns:a16="http://schemas.microsoft.com/office/drawing/2014/main" id="{61CE2827-8934-7DF4-CA75-608D5045CE9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754335" y="2977916"/>
            <a:ext cx="711165" cy="711165"/>
          </a:xfrm>
          <a:prstGeom prst="rect">
            <a:avLst/>
          </a:prstGeom>
        </p:spPr>
      </p:pic>
      <p:pic>
        <p:nvPicPr>
          <p:cNvPr id="11" name="Picture 10">
            <a:extLst>
              <a:ext uri="{FF2B5EF4-FFF2-40B4-BE49-F238E27FC236}">
                <a16:creationId xmlns:a16="http://schemas.microsoft.com/office/drawing/2014/main" id="{51BE9752-78EB-5E91-4E91-3E17FED3A3D4}"/>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071578" y="5277988"/>
            <a:ext cx="711165" cy="711165"/>
          </a:xfrm>
          <a:prstGeom prst="rect">
            <a:avLst/>
          </a:prstGeom>
        </p:spPr>
      </p:pic>
      <p:pic>
        <p:nvPicPr>
          <p:cNvPr id="14" name="Picture 13">
            <a:extLst>
              <a:ext uri="{FF2B5EF4-FFF2-40B4-BE49-F238E27FC236}">
                <a16:creationId xmlns:a16="http://schemas.microsoft.com/office/drawing/2014/main" id="{85C38677-C46C-D454-CCBF-BEDA0E3E1A50}"/>
              </a:ext>
            </a:extLst>
          </p:cNvPr>
          <p:cNvPicPr>
            <a:picLocks noChangeAspect="1"/>
          </p:cNvPicPr>
          <p:nvPr/>
        </p:nvPicPr>
        <p:blipFill>
          <a:blip r:embed="rId19"/>
          <a:srcRect/>
          <a:stretch/>
        </p:blipFill>
        <p:spPr>
          <a:xfrm>
            <a:off x="10186732" y="5277988"/>
            <a:ext cx="711165" cy="711165"/>
          </a:xfrm>
          <a:prstGeom prst="rect">
            <a:avLst/>
          </a:prstGeom>
        </p:spPr>
      </p:pic>
      <p:pic>
        <p:nvPicPr>
          <p:cNvPr id="26" name="Picture 25" descr="Logo&#10;&#10;Description automatically generated">
            <a:extLst>
              <a:ext uri="{FF2B5EF4-FFF2-40B4-BE49-F238E27FC236}">
                <a16:creationId xmlns:a16="http://schemas.microsoft.com/office/drawing/2014/main" id="{A33BC035-367E-462F-DCC3-E6A8271323BA}"/>
              </a:ext>
            </a:extLst>
          </p:cNvPr>
          <p:cNvPicPr>
            <a:picLocks noChangeAspect="1"/>
          </p:cNvPicPr>
          <p:nvPr/>
        </p:nvPicPr>
        <p:blipFill rotWithShape="1">
          <a:blip r:embed="rId20">
            <a:extLst>
              <a:ext uri="{BEBA8EAE-BF5A-486C-A8C5-ECC9F3942E4B}">
                <a14:imgProps xmlns:a14="http://schemas.microsoft.com/office/drawing/2010/main">
                  <a14:imgLayer r:embed="rId21">
                    <a14:imgEffect>
                      <a14:backgroundRemoval t="10000" b="90000" l="10000" r="90000"/>
                    </a14:imgEffect>
                  </a14:imgLayer>
                </a14:imgProps>
              </a:ext>
            </a:extLst>
          </a:blip>
          <a:srcRect l="22777" t="22122" r="21489" b="22143"/>
          <a:stretch/>
        </p:blipFill>
        <p:spPr>
          <a:xfrm>
            <a:off x="7866603" y="5277988"/>
            <a:ext cx="711165" cy="711165"/>
          </a:xfrm>
          <a:prstGeom prst="rect">
            <a:avLst/>
          </a:prstGeom>
        </p:spPr>
      </p:pic>
      <p:pic>
        <p:nvPicPr>
          <p:cNvPr id="28" name="Picture 27" descr="A picture containing object&#10;&#10;Description automatically generated">
            <a:extLst>
              <a:ext uri="{FF2B5EF4-FFF2-40B4-BE49-F238E27FC236}">
                <a16:creationId xmlns:a16="http://schemas.microsoft.com/office/drawing/2014/main" id="{590563AA-1AA2-A5FB-7E19-0303AC0BBC8E}"/>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742083" y="5277988"/>
            <a:ext cx="711165" cy="711165"/>
          </a:xfrm>
          <a:prstGeom prst="rect">
            <a:avLst/>
          </a:prstGeom>
        </p:spPr>
      </p:pic>
    </p:spTree>
    <p:extLst>
      <p:ext uri="{BB962C8B-B14F-4D97-AF65-F5344CB8AC3E}">
        <p14:creationId xmlns:p14="http://schemas.microsoft.com/office/powerpoint/2010/main" val="40994651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1CE16-1C25-0ABB-E495-ACFD813F67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A6550F-C4B9-17EF-0C04-7FE7A246FBDD}"/>
              </a:ext>
            </a:extLst>
          </p:cNvPr>
          <p:cNvSpPr>
            <a:spLocks noGrp="1"/>
          </p:cNvSpPr>
          <p:nvPr>
            <p:ph type="title"/>
          </p:nvPr>
        </p:nvSpPr>
        <p:spPr/>
        <p:txBody>
          <a:bodyPr/>
          <a:lstStyle/>
          <a:p>
            <a:r>
              <a:rPr lang="en-US" sz="5333"/>
              <a:t>Connected Ecosystem</a:t>
            </a:r>
          </a:p>
        </p:txBody>
      </p:sp>
      <p:sp>
        <p:nvSpPr>
          <p:cNvPr id="18" name="Content Placeholder 2">
            <a:extLst>
              <a:ext uri="{FF2B5EF4-FFF2-40B4-BE49-F238E27FC236}">
                <a16:creationId xmlns:a16="http://schemas.microsoft.com/office/drawing/2014/main" id="{EA9F7F76-AA96-A70A-39A7-BFB5FCC06CAA}"/>
              </a:ext>
            </a:extLst>
          </p:cNvPr>
          <p:cNvSpPr txBox="1">
            <a:spLocks/>
          </p:cNvSpPr>
          <p:nvPr/>
        </p:nvSpPr>
        <p:spPr>
          <a:xfrm>
            <a:off x="472670" y="1422427"/>
            <a:ext cx="6151393" cy="4547883"/>
          </a:xfrm>
          <a:prstGeom prst="rect">
            <a:avLst/>
          </a:prstGeom>
        </p:spPr>
        <p:txBody>
          <a:bodyPr vert="horz" lIns="121920" tIns="60960" rIns="121920" bIns="60960" rtlCol="0">
            <a:normAutofit/>
          </a:bodyPr>
          <a:lstStyle>
            <a:lvl1pPr marL="228600" indent="-228600" algn="l" defTabSz="685800" rtl="0" eaLnBrk="1" latinLnBrk="0" hangingPunct="1">
              <a:lnSpc>
                <a:spcPct val="100000"/>
              </a:lnSpc>
              <a:spcBef>
                <a:spcPts val="750"/>
              </a:spcBef>
              <a:buFontTx/>
              <a:buBlip>
                <a:blip r:embed="rId3"/>
              </a:buBlip>
              <a:tabLst/>
              <a:defRPr sz="1600" b="0" i="0" kern="1200">
                <a:solidFill>
                  <a:schemeClr val="tx1"/>
                </a:solidFill>
                <a:latin typeface="TT Commons Pro Light" panose="020B0103030102020204" pitchFamily="34" charset="77"/>
                <a:ea typeface="+mn-ea"/>
                <a:cs typeface="Arial" panose="020B0604020202020204" pitchFamily="34" charset="0"/>
              </a:defRPr>
            </a:lvl1pPr>
            <a:lvl2pPr marL="457200" indent="-228600" algn="l" defTabSz="685800" rtl="0" eaLnBrk="1" latinLnBrk="0" hangingPunct="1">
              <a:lnSpc>
                <a:spcPct val="100000"/>
              </a:lnSpc>
              <a:spcBef>
                <a:spcPts val="375"/>
              </a:spcBef>
              <a:buClr>
                <a:schemeClr val="tx1"/>
              </a:buClr>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2pPr>
            <a:lvl3pPr marL="685800" indent="-228600" algn="l" defTabSz="685800" rtl="0" eaLnBrk="1" latinLnBrk="0" hangingPunct="1">
              <a:lnSpc>
                <a:spcPct val="100000"/>
              </a:lnSpc>
              <a:spcBef>
                <a:spcPts val="375"/>
              </a:spcBef>
              <a:buClr>
                <a:schemeClr val="accent1"/>
              </a:buClr>
              <a:buFont typeface="Wingdings" pitchFamily="2" charset="2"/>
              <a:buChar char="§"/>
              <a:tabLst/>
              <a:defRPr sz="1400" b="0" i="0" kern="1200">
                <a:solidFill>
                  <a:schemeClr val="tx1"/>
                </a:solidFill>
                <a:latin typeface="TT Commons Pro Light" panose="020B0103030102020204" pitchFamily="34" charset="77"/>
                <a:ea typeface="+mn-ea"/>
                <a:cs typeface="Arial" panose="020B0604020202020204" pitchFamily="34" charset="0"/>
              </a:defRPr>
            </a:lvl3pPr>
            <a:lvl4pPr marL="914400" indent="-228600" algn="l" defTabSz="685800" rtl="0" eaLnBrk="1" latinLnBrk="0" hangingPunct="1">
              <a:lnSpc>
                <a:spcPct val="100000"/>
              </a:lnSpc>
              <a:spcBef>
                <a:spcPts val="375"/>
              </a:spcBef>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4pPr>
            <a:lvl5pPr marL="1087438" indent="-173038" algn="l" defTabSz="685800" rtl="0" eaLnBrk="1" latinLnBrk="0" hangingPunct="1">
              <a:lnSpc>
                <a:spcPct val="100000"/>
              </a:lnSpc>
              <a:spcBef>
                <a:spcPts val="375"/>
              </a:spcBef>
              <a:buClr>
                <a:schemeClr val="accent1"/>
              </a:buClr>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Aft>
                <a:spcPts val="800"/>
              </a:spcAft>
              <a:buNone/>
            </a:pPr>
            <a:r>
              <a:rPr lang="en-US" sz="1867" b="1">
                <a:latin typeface="TT Commons Pro" panose="020B0103030102020204" pitchFamily="34" charset="77"/>
              </a:rPr>
              <a:t>Brands no longer need just tools.</a:t>
            </a:r>
            <a:endParaRPr lang="en-US" sz="1867"/>
          </a:p>
          <a:p>
            <a:pPr marL="0" indent="0">
              <a:buNone/>
            </a:pPr>
            <a:r>
              <a:rPr lang="en-US" sz="1867"/>
              <a:t>They need </a:t>
            </a:r>
            <a:r>
              <a:rPr lang="en-US" sz="1867" b="1">
                <a:latin typeface="TT Commons Pro" panose="020B0103030102020204" pitchFamily="34" charset="77"/>
              </a:rPr>
              <a:t>solutions </a:t>
            </a:r>
            <a:r>
              <a:rPr lang="en-US" sz="1867">
                <a:latin typeface="TT Commons Pro" panose="020B0103030102020204" pitchFamily="34" charset="77"/>
              </a:rPr>
              <a:t>that</a:t>
            </a:r>
            <a:r>
              <a:rPr lang="en-US" sz="1867" b="1">
                <a:latin typeface="TT Commons Pro" panose="020B0103030102020204" pitchFamily="34" charset="77"/>
              </a:rPr>
              <a:t> </a:t>
            </a:r>
            <a:r>
              <a:rPr lang="en-US" sz="1867"/>
              <a:t>can:</a:t>
            </a:r>
          </a:p>
          <a:p>
            <a:r>
              <a:rPr lang="en-US" sz="1867"/>
              <a:t>Improve compliant packaging execution</a:t>
            </a:r>
          </a:p>
          <a:p>
            <a:r>
              <a:rPr lang="en-US" sz="1867"/>
              <a:t>Coordinate regulatory and operational change</a:t>
            </a:r>
          </a:p>
          <a:p>
            <a:r>
              <a:rPr lang="en-US" sz="1867"/>
              <a:t>Support controlled change at global scale</a:t>
            </a:r>
          </a:p>
          <a:p>
            <a:endParaRPr lang="en-US" sz="1867"/>
          </a:p>
          <a:p>
            <a:pPr marL="0" indent="0">
              <a:buNone/>
            </a:pPr>
            <a:r>
              <a:rPr lang="en-US" sz="1867"/>
              <a:t>The </a:t>
            </a:r>
            <a:r>
              <a:rPr lang="en-US" sz="1867" b="1">
                <a:latin typeface="TT Commons Pro" panose="020B0103030102020204" pitchFamily="34" charset="77"/>
              </a:rPr>
              <a:t>shift</a:t>
            </a:r>
            <a:r>
              <a:rPr lang="en-US" sz="1867"/>
              <a:t>:</a:t>
            </a:r>
          </a:p>
          <a:p>
            <a:pPr>
              <a:buClr>
                <a:schemeClr val="accent1"/>
              </a:buClr>
            </a:pPr>
            <a:r>
              <a:rPr lang="en-US" sz="1867"/>
              <a:t>From isolated tools to connected execution systems</a:t>
            </a:r>
          </a:p>
          <a:p>
            <a:pPr>
              <a:buClr>
                <a:schemeClr val="accent1"/>
              </a:buClr>
            </a:pPr>
            <a:r>
              <a:rPr lang="en-US" sz="1867"/>
              <a:t>From late-stage correction to embedded compliance</a:t>
            </a:r>
          </a:p>
          <a:p>
            <a:pPr>
              <a:buClr>
                <a:schemeClr val="accent1"/>
              </a:buClr>
            </a:pPr>
            <a:r>
              <a:rPr lang="en-US" sz="1867"/>
              <a:t>From software suppliers to operational partners</a:t>
            </a:r>
          </a:p>
        </p:txBody>
      </p:sp>
      <p:sp>
        <p:nvSpPr>
          <p:cNvPr id="23" name="TextBox 22">
            <a:extLst>
              <a:ext uri="{FF2B5EF4-FFF2-40B4-BE49-F238E27FC236}">
                <a16:creationId xmlns:a16="http://schemas.microsoft.com/office/drawing/2014/main" id="{F70B5BB7-333C-D4E5-DC35-668BD0A925F7}"/>
              </a:ext>
            </a:extLst>
          </p:cNvPr>
          <p:cNvSpPr txBox="1"/>
          <p:nvPr/>
        </p:nvSpPr>
        <p:spPr>
          <a:xfrm>
            <a:off x="7407508" y="5608359"/>
            <a:ext cx="3467072" cy="830997"/>
          </a:xfrm>
          <a:prstGeom prst="rect">
            <a:avLst/>
          </a:prstGeom>
          <a:noFill/>
        </p:spPr>
        <p:txBody>
          <a:bodyPr wrap="square" rtlCol="0">
            <a:spAutoFit/>
          </a:bodyPr>
          <a:lstStyle/>
          <a:p>
            <a:pPr algn="ctr"/>
            <a:r>
              <a:rPr lang="en-US" sz="2400" b="1">
                <a:latin typeface="TT Commons Pro" panose="020B0103030102020204" pitchFamily="34" charset="77"/>
              </a:rPr>
              <a:t>Connected Services</a:t>
            </a:r>
          </a:p>
          <a:p>
            <a:pPr algn="ctr"/>
            <a:r>
              <a:rPr lang="en-US" sz="2400">
                <a:latin typeface="TT Commons Pro" panose="020B0103030102020204" pitchFamily="34" charset="77"/>
              </a:rPr>
              <a:t>Framework</a:t>
            </a:r>
          </a:p>
        </p:txBody>
      </p:sp>
      <p:sp>
        <p:nvSpPr>
          <p:cNvPr id="22" name="Freeform 21">
            <a:extLst>
              <a:ext uri="{FF2B5EF4-FFF2-40B4-BE49-F238E27FC236}">
                <a16:creationId xmlns:a16="http://schemas.microsoft.com/office/drawing/2014/main" id="{EB28861A-0ECA-7A32-479E-2920BD489977}"/>
              </a:ext>
            </a:extLst>
          </p:cNvPr>
          <p:cNvSpPr/>
          <p:nvPr/>
        </p:nvSpPr>
        <p:spPr>
          <a:xfrm rot="3863213">
            <a:off x="9677643" y="1572511"/>
            <a:ext cx="281879" cy="38383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24" name="Freeform 23">
            <a:extLst>
              <a:ext uri="{FF2B5EF4-FFF2-40B4-BE49-F238E27FC236}">
                <a16:creationId xmlns:a16="http://schemas.microsoft.com/office/drawing/2014/main" id="{51145E44-AE32-8E2B-FF18-A4255E390D58}"/>
              </a:ext>
            </a:extLst>
          </p:cNvPr>
          <p:cNvSpPr/>
          <p:nvPr/>
        </p:nvSpPr>
        <p:spPr>
          <a:xfrm rot="1425566">
            <a:off x="11060526" y="2821388"/>
            <a:ext cx="313101" cy="371128"/>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25" name="Freeform 24">
            <a:extLst>
              <a:ext uri="{FF2B5EF4-FFF2-40B4-BE49-F238E27FC236}">
                <a16:creationId xmlns:a16="http://schemas.microsoft.com/office/drawing/2014/main" id="{5C84240E-61DF-406A-961A-DD841D40F3A0}"/>
              </a:ext>
            </a:extLst>
          </p:cNvPr>
          <p:cNvSpPr/>
          <p:nvPr/>
        </p:nvSpPr>
        <p:spPr>
          <a:xfrm rot="6035246">
            <a:off x="6885743" y="2672574"/>
            <a:ext cx="313101" cy="60907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26" name="Freeform 25">
            <a:extLst>
              <a:ext uri="{FF2B5EF4-FFF2-40B4-BE49-F238E27FC236}">
                <a16:creationId xmlns:a16="http://schemas.microsoft.com/office/drawing/2014/main" id="{C071F85C-50AE-5080-E1C0-CD5340E6C555}"/>
              </a:ext>
            </a:extLst>
          </p:cNvPr>
          <p:cNvSpPr/>
          <p:nvPr/>
        </p:nvSpPr>
        <p:spPr>
          <a:xfrm rot="20426043">
            <a:off x="11081957" y="2870382"/>
            <a:ext cx="290612" cy="33738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27" name="Freeform 26">
            <a:extLst>
              <a:ext uri="{FF2B5EF4-FFF2-40B4-BE49-F238E27FC236}">
                <a16:creationId xmlns:a16="http://schemas.microsoft.com/office/drawing/2014/main" id="{CFB9FDD4-D691-82CE-597E-C8AB0D0C35FB}"/>
              </a:ext>
            </a:extLst>
          </p:cNvPr>
          <p:cNvSpPr/>
          <p:nvPr/>
        </p:nvSpPr>
        <p:spPr>
          <a:xfrm rot="9410302">
            <a:off x="9603819" y="2853508"/>
            <a:ext cx="313101" cy="371128"/>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28" name="Freeform 27">
            <a:extLst>
              <a:ext uri="{FF2B5EF4-FFF2-40B4-BE49-F238E27FC236}">
                <a16:creationId xmlns:a16="http://schemas.microsoft.com/office/drawing/2014/main" id="{A41B1228-1BB9-98C8-09BD-586700DF8AB8}"/>
              </a:ext>
            </a:extLst>
          </p:cNvPr>
          <p:cNvSpPr/>
          <p:nvPr/>
        </p:nvSpPr>
        <p:spPr>
          <a:xfrm rot="3799550">
            <a:off x="10389934" y="2149541"/>
            <a:ext cx="281879" cy="425900"/>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29" name="Freeform 28">
            <a:extLst>
              <a:ext uri="{FF2B5EF4-FFF2-40B4-BE49-F238E27FC236}">
                <a16:creationId xmlns:a16="http://schemas.microsoft.com/office/drawing/2014/main" id="{33585B07-B583-68D5-93EF-D771DC6752B5}"/>
              </a:ext>
            </a:extLst>
          </p:cNvPr>
          <p:cNvSpPr/>
          <p:nvPr/>
        </p:nvSpPr>
        <p:spPr>
          <a:xfrm rot="2502535">
            <a:off x="8293390" y="1638785"/>
            <a:ext cx="247916" cy="257084"/>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30" name="Freeform 29">
            <a:extLst>
              <a:ext uri="{FF2B5EF4-FFF2-40B4-BE49-F238E27FC236}">
                <a16:creationId xmlns:a16="http://schemas.microsoft.com/office/drawing/2014/main" id="{69ECE85B-9356-EA5F-D722-03D5E838D71E}"/>
              </a:ext>
            </a:extLst>
          </p:cNvPr>
          <p:cNvSpPr/>
          <p:nvPr/>
        </p:nvSpPr>
        <p:spPr>
          <a:xfrm rot="18146750">
            <a:off x="7546305" y="2221326"/>
            <a:ext cx="281879" cy="38383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31" name="Freeform 30">
            <a:extLst>
              <a:ext uri="{FF2B5EF4-FFF2-40B4-BE49-F238E27FC236}">
                <a16:creationId xmlns:a16="http://schemas.microsoft.com/office/drawing/2014/main" id="{04BA8693-927E-24EF-D3E1-8602C8241B54}"/>
              </a:ext>
            </a:extLst>
          </p:cNvPr>
          <p:cNvSpPr/>
          <p:nvPr/>
        </p:nvSpPr>
        <p:spPr>
          <a:xfrm>
            <a:off x="8967814" y="2199387"/>
            <a:ext cx="281879" cy="38383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32" name="Freeform 31">
            <a:extLst>
              <a:ext uri="{FF2B5EF4-FFF2-40B4-BE49-F238E27FC236}">
                <a16:creationId xmlns:a16="http://schemas.microsoft.com/office/drawing/2014/main" id="{7287ED21-78CF-43CD-5E22-04A516464D65}"/>
              </a:ext>
            </a:extLst>
          </p:cNvPr>
          <p:cNvSpPr/>
          <p:nvPr/>
        </p:nvSpPr>
        <p:spPr>
          <a:xfrm rot="1563012">
            <a:off x="6833390" y="3121087"/>
            <a:ext cx="281879" cy="444677"/>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33" name="Freeform 32">
            <a:extLst>
              <a:ext uri="{FF2B5EF4-FFF2-40B4-BE49-F238E27FC236}">
                <a16:creationId xmlns:a16="http://schemas.microsoft.com/office/drawing/2014/main" id="{E4FB760A-1B58-CF2A-F867-56324712AA49}"/>
              </a:ext>
            </a:extLst>
          </p:cNvPr>
          <p:cNvSpPr/>
          <p:nvPr/>
        </p:nvSpPr>
        <p:spPr>
          <a:xfrm rot="1912808">
            <a:off x="11071019" y="3206265"/>
            <a:ext cx="290612" cy="33738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34" name="Freeform 33">
            <a:extLst>
              <a:ext uri="{FF2B5EF4-FFF2-40B4-BE49-F238E27FC236}">
                <a16:creationId xmlns:a16="http://schemas.microsoft.com/office/drawing/2014/main" id="{041365D8-FCBE-0FFD-BA81-967ED18DE909}"/>
              </a:ext>
            </a:extLst>
          </p:cNvPr>
          <p:cNvSpPr/>
          <p:nvPr/>
        </p:nvSpPr>
        <p:spPr>
          <a:xfrm rot="2227833">
            <a:off x="9403227" y="3239566"/>
            <a:ext cx="313101" cy="690397"/>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35" name="Freeform 34">
            <a:extLst>
              <a:ext uri="{FF2B5EF4-FFF2-40B4-BE49-F238E27FC236}">
                <a16:creationId xmlns:a16="http://schemas.microsoft.com/office/drawing/2014/main" id="{98428FFF-6409-DAF3-8BF3-17A0BCF20E47}"/>
              </a:ext>
            </a:extLst>
          </p:cNvPr>
          <p:cNvSpPr/>
          <p:nvPr/>
        </p:nvSpPr>
        <p:spPr>
          <a:xfrm rot="4243737">
            <a:off x="9292118" y="1903885"/>
            <a:ext cx="313101" cy="371128"/>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36" name="Freeform 35">
            <a:extLst>
              <a:ext uri="{FF2B5EF4-FFF2-40B4-BE49-F238E27FC236}">
                <a16:creationId xmlns:a16="http://schemas.microsoft.com/office/drawing/2014/main" id="{AB29D1CE-0AEE-D17D-ADA3-6AC9C0D8958A}"/>
              </a:ext>
            </a:extLst>
          </p:cNvPr>
          <p:cNvSpPr/>
          <p:nvPr/>
        </p:nvSpPr>
        <p:spPr>
          <a:xfrm rot="4446379">
            <a:off x="10018550" y="2524659"/>
            <a:ext cx="313101" cy="371128"/>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37" name="Freeform 36">
            <a:extLst>
              <a:ext uri="{FF2B5EF4-FFF2-40B4-BE49-F238E27FC236}">
                <a16:creationId xmlns:a16="http://schemas.microsoft.com/office/drawing/2014/main" id="{A04ED45A-8F4B-C125-9B30-48F389841052}"/>
              </a:ext>
            </a:extLst>
          </p:cNvPr>
          <p:cNvSpPr/>
          <p:nvPr/>
        </p:nvSpPr>
        <p:spPr>
          <a:xfrm rot="4950113">
            <a:off x="8614911" y="2535329"/>
            <a:ext cx="290612" cy="33738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38" name="Freeform 37">
            <a:extLst>
              <a:ext uri="{FF2B5EF4-FFF2-40B4-BE49-F238E27FC236}">
                <a16:creationId xmlns:a16="http://schemas.microsoft.com/office/drawing/2014/main" id="{F4704420-D554-B1BA-25C9-7D5180C7FA01}"/>
              </a:ext>
            </a:extLst>
          </p:cNvPr>
          <p:cNvSpPr/>
          <p:nvPr/>
        </p:nvSpPr>
        <p:spPr>
          <a:xfrm rot="9313239">
            <a:off x="7863031" y="2533909"/>
            <a:ext cx="313101" cy="295847"/>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39" name="Oval 38">
            <a:extLst>
              <a:ext uri="{FF2B5EF4-FFF2-40B4-BE49-F238E27FC236}">
                <a16:creationId xmlns:a16="http://schemas.microsoft.com/office/drawing/2014/main" id="{D46A7548-AFB4-8241-3C2C-3EEE6D87A626}"/>
              </a:ext>
            </a:extLst>
          </p:cNvPr>
          <p:cNvSpPr/>
          <p:nvPr/>
        </p:nvSpPr>
        <p:spPr>
          <a:xfrm>
            <a:off x="8866691" y="2191339"/>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40" name="TextBox 39">
            <a:extLst>
              <a:ext uri="{FF2B5EF4-FFF2-40B4-BE49-F238E27FC236}">
                <a16:creationId xmlns:a16="http://schemas.microsoft.com/office/drawing/2014/main" id="{6373390C-C45F-8BB3-852F-3B2C99D0D4BC}"/>
              </a:ext>
            </a:extLst>
          </p:cNvPr>
          <p:cNvSpPr txBox="1"/>
          <p:nvPr/>
        </p:nvSpPr>
        <p:spPr>
          <a:xfrm>
            <a:off x="8882564" y="2340330"/>
            <a:ext cx="470000" cy="174343"/>
          </a:xfrm>
          <a:prstGeom prst="rect">
            <a:avLst/>
          </a:prstGeom>
          <a:noFill/>
        </p:spPr>
        <p:txBody>
          <a:bodyPr wrap="none" rtlCol="0">
            <a:spAutoFit/>
          </a:bodyPr>
          <a:lstStyle/>
          <a:p>
            <a:pPr algn="ctr"/>
            <a:r>
              <a:rPr lang="en-US" sz="533">
                <a:latin typeface="TT Commons Pro" panose="020B0103030102020204" pitchFamily="34" charset="77"/>
              </a:rPr>
              <a:t>Pre-press</a:t>
            </a:r>
          </a:p>
        </p:txBody>
      </p:sp>
      <p:pic>
        <p:nvPicPr>
          <p:cNvPr id="41" name="Picture 40" descr="A picture containing object&#10;&#10;Description automatically generated">
            <a:extLst>
              <a:ext uri="{FF2B5EF4-FFF2-40B4-BE49-F238E27FC236}">
                <a16:creationId xmlns:a16="http://schemas.microsoft.com/office/drawing/2014/main" id="{35B8AA70-F8AC-7E7B-A290-40305E3C17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16260" y="2503079"/>
            <a:ext cx="151403" cy="151403"/>
          </a:xfrm>
          <a:prstGeom prst="rect">
            <a:avLst/>
          </a:prstGeom>
        </p:spPr>
      </p:pic>
      <p:pic>
        <p:nvPicPr>
          <p:cNvPr id="42" name="Picture 41" descr="A close up of a sign&#10;&#10;Description automatically generated">
            <a:extLst>
              <a:ext uri="{FF2B5EF4-FFF2-40B4-BE49-F238E27FC236}">
                <a16:creationId xmlns:a16="http://schemas.microsoft.com/office/drawing/2014/main" id="{8D166F22-9A56-AD68-A1C4-CC29873020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040" y="2499257"/>
            <a:ext cx="114571" cy="114571"/>
          </a:xfrm>
          <a:prstGeom prst="rect">
            <a:avLst/>
          </a:prstGeom>
        </p:spPr>
      </p:pic>
      <p:sp>
        <p:nvSpPr>
          <p:cNvPr id="43" name="Oval 42">
            <a:extLst>
              <a:ext uri="{FF2B5EF4-FFF2-40B4-BE49-F238E27FC236}">
                <a16:creationId xmlns:a16="http://schemas.microsoft.com/office/drawing/2014/main" id="{6A66207D-F879-81C5-FEAE-BD20E2FF9AB2}"/>
              </a:ext>
            </a:extLst>
          </p:cNvPr>
          <p:cNvSpPr/>
          <p:nvPr/>
        </p:nvSpPr>
        <p:spPr>
          <a:xfrm>
            <a:off x="8115797" y="1510578"/>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44" name="TextBox 43">
            <a:extLst>
              <a:ext uri="{FF2B5EF4-FFF2-40B4-BE49-F238E27FC236}">
                <a16:creationId xmlns:a16="http://schemas.microsoft.com/office/drawing/2014/main" id="{BD9D9FEE-AD45-69DF-D252-419C2DC11BD3}"/>
              </a:ext>
            </a:extLst>
          </p:cNvPr>
          <p:cNvSpPr txBox="1"/>
          <p:nvPr/>
        </p:nvSpPr>
        <p:spPr>
          <a:xfrm>
            <a:off x="8130164" y="1598821"/>
            <a:ext cx="482824" cy="174343"/>
          </a:xfrm>
          <a:prstGeom prst="rect">
            <a:avLst/>
          </a:prstGeom>
          <a:noFill/>
        </p:spPr>
        <p:txBody>
          <a:bodyPr wrap="none" rtlCol="0">
            <a:spAutoFit/>
          </a:bodyPr>
          <a:lstStyle/>
          <a:p>
            <a:pPr algn="ctr"/>
            <a:r>
              <a:rPr lang="en-US" sz="533">
                <a:latin typeface="TT Commons Pro" panose="020B0103030102020204" pitchFamily="34" charset="77"/>
              </a:rPr>
              <a:t>Packshots</a:t>
            </a:r>
          </a:p>
        </p:txBody>
      </p:sp>
      <p:pic>
        <p:nvPicPr>
          <p:cNvPr id="45" name="Picture 44" descr="A close-up of a bag of cereal&#10;&#10;AI-generated content may be incorrect.">
            <a:extLst>
              <a:ext uri="{FF2B5EF4-FFF2-40B4-BE49-F238E27FC236}">
                <a16:creationId xmlns:a16="http://schemas.microsoft.com/office/drawing/2014/main" id="{5A7E3C26-29D6-BDB3-7AD2-F7E85D4ADEAA}"/>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8229" b="93750" l="10000" r="90000">
                        <a14:foregroundMark x1="60781" y1="10521" x2="34688" y2="13229"/>
                        <a14:foregroundMark x1="43750" y1="9479" x2="52188" y2="8333"/>
                        <a14:foregroundMark x1="35156" y1="90313" x2="76875" y2="90104"/>
                        <a14:foregroundMark x1="76875" y1="90104" x2="35938" y2="89167"/>
                        <a14:foregroundMark x1="35938" y1="89167" x2="59062" y2="93750"/>
                      </a14:backgroundRemoval>
                    </a14:imgEffect>
                  </a14:imgLayer>
                </a14:imgProps>
              </a:ext>
            </a:extLst>
          </a:blip>
          <a:stretch>
            <a:fillRect/>
          </a:stretch>
        </p:blipFill>
        <p:spPr>
          <a:xfrm>
            <a:off x="8294853" y="1718981"/>
            <a:ext cx="179819" cy="269728"/>
          </a:xfrm>
          <a:prstGeom prst="rect">
            <a:avLst/>
          </a:prstGeom>
        </p:spPr>
      </p:pic>
      <p:pic>
        <p:nvPicPr>
          <p:cNvPr id="46" name="Picture 45" descr="A picture containing object&#10;&#10;Description automatically generated">
            <a:extLst>
              <a:ext uri="{FF2B5EF4-FFF2-40B4-BE49-F238E27FC236}">
                <a16:creationId xmlns:a16="http://schemas.microsoft.com/office/drawing/2014/main" id="{44715052-9B9B-0579-E398-0A17ED9F3B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29941" y="1766273"/>
            <a:ext cx="135016" cy="135016"/>
          </a:xfrm>
          <a:prstGeom prst="rect">
            <a:avLst/>
          </a:prstGeom>
        </p:spPr>
      </p:pic>
      <p:sp>
        <p:nvSpPr>
          <p:cNvPr id="47" name="Oval 46">
            <a:extLst>
              <a:ext uri="{FF2B5EF4-FFF2-40B4-BE49-F238E27FC236}">
                <a16:creationId xmlns:a16="http://schemas.microsoft.com/office/drawing/2014/main" id="{13F2CE40-3635-807A-B5CC-7E21AF8A8148}"/>
              </a:ext>
            </a:extLst>
          </p:cNvPr>
          <p:cNvSpPr/>
          <p:nvPr/>
        </p:nvSpPr>
        <p:spPr>
          <a:xfrm>
            <a:off x="9543451" y="1544797"/>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48" name="TextBox 47">
            <a:extLst>
              <a:ext uri="{FF2B5EF4-FFF2-40B4-BE49-F238E27FC236}">
                <a16:creationId xmlns:a16="http://schemas.microsoft.com/office/drawing/2014/main" id="{A83395B1-B38C-9A6A-FDAD-62204315BA47}"/>
              </a:ext>
            </a:extLst>
          </p:cNvPr>
          <p:cNvSpPr txBox="1"/>
          <p:nvPr/>
        </p:nvSpPr>
        <p:spPr>
          <a:xfrm>
            <a:off x="9549001" y="1694814"/>
            <a:ext cx="500458" cy="174343"/>
          </a:xfrm>
          <a:prstGeom prst="rect">
            <a:avLst/>
          </a:prstGeom>
          <a:noFill/>
        </p:spPr>
        <p:txBody>
          <a:bodyPr wrap="none" rtlCol="0">
            <a:spAutoFit/>
          </a:bodyPr>
          <a:lstStyle/>
          <a:p>
            <a:pPr algn="ctr"/>
            <a:r>
              <a:rPr lang="en-US" sz="533">
                <a:latin typeface="TT Commons Pro" panose="020B0103030102020204" pitchFamily="34" charset="77"/>
              </a:rPr>
              <a:t>Die Line ID</a:t>
            </a:r>
          </a:p>
        </p:txBody>
      </p:sp>
      <p:pic>
        <p:nvPicPr>
          <p:cNvPr id="49" name="Picture 48">
            <a:extLst>
              <a:ext uri="{FF2B5EF4-FFF2-40B4-BE49-F238E27FC236}">
                <a16:creationId xmlns:a16="http://schemas.microsoft.com/office/drawing/2014/main" id="{40899E8D-ED51-0DE3-CF04-4234B023465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26670" y="1857057"/>
            <a:ext cx="145124" cy="145124"/>
          </a:xfrm>
          <a:prstGeom prst="rect">
            <a:avLst/>
          </a:prstGeom>
        </p:spPr>
      </p:pic>
      <p:sp>
        <p:nvSpPr>
          <p:cNvPr id="50" name="Oval 49">
            <a:extLst>
              <a:ext uri="{FF2B5EF4-FFF2-40B4-BE49-F238E27FC236}">
                <a16:creationId xmlns:a16="http://schemas.microsoft.com/office/drawing/2014/main" id="{B12AF55E-0DCD-5690-B7B0-94476E3D8679}"/>
              </a:ext>
            </a:extLst>
          </p:cNvPr>
          <p:cNvSpPr/>
          <p:nvPr/>
        </p:nvSpPr>
        <p:spPr>
          <a:xfrm>
            <a:off x="7431669" y="2182593"/>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51" name="TextBox 50">
            <a:extLst>
              <a:ext uri="{FF2B5EF4-FFF2-40B4-BE49-F238E27FC236}">
                <a16:creationId xmlns:a16="http://schemas.microsoft.com/office/drawing/2014/main" id="{734731B9-6366-7117-4ED8-5A8A2E40A2C4}"/>
              </a:ext>
            </a:extLst>
          </p:cNvPr>
          <p:cNvSpPr txBox="1"/>
          <p:nvPr/>
        </p:nvSpPr>
        <p:spPr>
          <a:xfrm>
            <a:off x="7515765" y="2319885"/>
            <a:ext cx="343363" cy="174343"/>
          </a:xfrm>
          <a:prstGeom prst="rect">
            <a:avLst/>
          </a:prstGeom>
          <a:noFill/>
        </p:spPr>
        <p:txBody>
          <a:bodyPr wrap="none" rtlCol="0">
            <a:spAutoFit/>
          </a:bodyPr>
          <a:lstStyle/>
          <a:p>
            <a:pPr algn="ctr"/>
            <a:r>
              <a:rPr lang="en-US" sz="533">
                <a:latin typeface="TT Commons Pro" panose="020B0103030102020204" pitchFamily="34" charset="77"/>
              </a:rPr>
              <a:t>Color</a:t>
            </a:r>
          </a:p>
        </p:txBody>
      </p:sp>
      <p:pic>
        <p:nvPicPr>
          <p:cNvPr id="52" name="Picture 51" descr="A blue circle with a white line on it&#10;&#10;AI-generated content may be incorrect.">
            <a:extLst>
              <a:ext uri="{FF2B5EF4-FFF2-40B4-BE49-F238E27FC236}">
                <a16:creationId xmlns:a16="http://schemas.microsoft.com/office/drawing/2014/main" id="{7760BC0C-1D38-507C-D86F-9038DACE59C9}"/>
              </a:ext>
            </a:extLst>
          </p:cNvPr>
          <p:cNvPicPr>
            <a:picLocks noChangeAspect="1"/>
          </p:cNvPicPr>
          <p:nvPr/>
        </p:nvPicPr>
        <p:blipFill>
          <a:blip r:embed="rId10"/>
          <a:stretch>
            <a:fillRect/>
          </a:stretch>
        </p:blipFill>
        <p:spPr>
          <a:xfrm>
            <a:off x="7613032" y="2449229"/>
            <a:ext cx="170208" cy="170208"/>
          </a:xfrm>
          <a:prstGeom prst="rect">
            <a:avLst/>
          </a:prstGeom>
        </p:spPr>
      </p:pic>
      <p:sp>
        <p:nvSpPr>
          <p:cNvPr id="53" name="Oval 52">
            <a:extLst>
              <a:ext uri="{FF2B5EF4-FFF2-40B4-BE49-F238E27FC236}">
                <a16:creationId xmlns:a16="http://schemas.microsoft.com/office/drawing/2014/main" id="{E3055934-D829-4525-128C-92006E490D63}"/>
              </a:ext>
            </a:extLst>
          </p:cNvPr>
          <p:cNvSpPr/>
          <p:nvPr/>
        </p:nvSpPr>
        <p:spPr>
          <a:xfrm>
            <a:off x="9520170" y="1561626"/>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pic>
        <p:nvPicPr>
          <p:cNvPr id="54" name="Picture 53">
            <a:extLst>
              <a:ext uri="{FF2B5EF4-FFF2-40B4-BE49-F238E27FC236}">
                <a16:creationId xmlns:a16="http://schemas.microsoft.com/office/drawing/2014/main" id="{EF005009-2521-C459-7C54-1A4DF3EC2CE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704349" y="1864803"/>
            <a:ext cx="147703" cy="147703"/>
          </a:xfrm>
          <a:prstGeom prst="rect">
            <a:avLst/>
          </a:prstGeom>
        </p:spPr>
      </p:pic>
      <p:sp>
        <p:nvSpPr>
          <p:cNvPr id="55" name="TextBox 54">
            <a:extLst>
              <a:ext uri="{FF2B5EF4-FFF2-40B4-BE49-F238E27FC236}">
                <a16:creationId xmlns:a16="http://schemas.microsoft.com/office/drawing/2014/main" id="{CFB6489D-B1C5-BE2F-39B8-F485CF0BC07D}"/>
              </a:ext>
            </a:extLst>
          </p:cNvPr>
          <p:cNvSpPr txBox="1"/>
          <p:nvPr/>
        </p:nvSpPr>
        <p:spPr>
          <a:xfrm>
            <a:off x="9565535" y="1714953"/>
            <a:ext cx="449162" cy="153888"/>
          </a:xfrm>
          <a:prstGeom prst="rect">
            <a:avLst/>
          </a:prstGeom>
          <a:noFill/>
        </p:spPr>
        <p:txBody>
          <a:bodyPr wrap="none" rtlCol="0">
            <a:spAutoFit/>
          </a:bodyPr>
          <a:lstStyle/>
          <a:p>
            <a:pPr algn="ctr"/>
            <a:r>
              <a:rPr lang="en-US" sz="400">
                <a:latin typeface="TT Commons Pro" panose="020B0103030102020204" pitchFamily="34" charset="77"/>
              </a:rPr>
              <a:t>Palletization</a:t>
            </a:r>
            <a:endParaRPr lang="en-US" sz="533">
              <a:latin typeface="TT Commons Pro" panose="020B0103030102020204" pitchFamily="34" charset="77"/>
            </a:endParaRPr>
          </a:p>
        </p:txBody>
      </p:sp>
      <p:pic>
        <p:nvPicPr>
          <p:cNvPr id="56" name="Picture 55" descr="A black and pink logo&#10;&#10;AI-generated content may be incorrect.">
            <a:extLst>
              <a:ext uri="{FF2B5EF4-FFF2-40B4-BE49-F238E27FC236}">
                <a16:creationId xmlns:a16="http://schemas.microsoft.com/office/drawing/2014/main" id="{2C0C19D0-227E-A60C-FFC6-DBE7C205A719}"/>
              </a:ext>
            </a:extLst>
          </p:cNvPr>
          <p:cNvPicPr>
            <a:picLocks noChangeAspect="1"/>
          </p:cNvPicPr>
          <p:nvPr/>
        </p:nvPicPr>
        <p:blipFill>
          <a:blip r:embed="rId12"/>
          <a:stretch>
            <a:fillRect/>
          </a:stretch>
        </p:blipFill>
        <p:spPr>
          <a:xfrm>
            <a:off x="8629948" y="4517577"/>
            <a:ext cx="315840" cy="63935"/>
          </a:xfrm>
          <a:prstGeom prst="rect">
            <a:avLst/>
          </a:prstGeom>
        </p:spPr>
      </p:pic>
      <p:sp>
        <p:nvSpPr>
          <p:cNvPr id="57" name="Freeform 56">
            <a:extLst>
              <a:ext uri="{FF2B5EF4-FFF2-40B4-BE49-F238E27FC236}">
                <a16:creationId xmlns:a16="http://schemas.microsoft.com/office/drawing/2014/main" id="{E2F4A0C0-5C8E-B5A2-DA6E-9C61285ED2F3}"/>
              </a:ext>
            </a:extLst>
          </p:cNvPr>
          <p:cNvSpPr/>
          <p:nvPr/>
        </p:nvSpPr>
        <p:spPr>
          <a:xfrm rot="7842889">
            <a:off x="9061394" y="4407388"/>
            <a:ext cx="281879" cy="419717"/>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58" name="Oval 57">
            <a:extLst>
              <a:ext uri="{FF2B5EF4-FFF2-40B4-BE49-F238E27FC236}">
                <a16:creationId xmlns:a16="http://schemas.microsoft.com/office/drawing/2014/main" id="{27C253ED-408F-10BD-922B-F3332F5880D8}"/>
              </a:ext>
            </a:extLst>
          </p:cNvPr>
          <p:cNvSpPr/>
          <p:nvPr/>
        </p:nvSpPr>
        <p:spPr>
          <a:xfrm>
            <a:off x="8542246" y="4203754"/>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59" name="TextBox 58">
            <a:extLst>
              <a:ext uri="{FF2B5EF4-FFF2-40B4-BE49-F238E27FC236}">
                <a16:creationId xmlns:a16="http://schemas.microsoft.com/office/drawing/2014/main" id="{06DFF1FB-D905-3F29-661D-9E950FCBB37B}"/>
              </a:ext>
            </a:extLst>
          </p:cNvPr>
          <p:cNvSpPr txBox="1"/>
          <p:nvPr/>
        </p:nvSpPr>
        <p:spPr>
          <a:xfrm>
            <a:off x="8544589" y="4353773"/>
            <a:ext cx="506870" cy="174343"/>
          </a:xfrm>
          <a:prstGeom prst="rect">
            <a:avLst/>
          </a:prstGeom>
          <a:noFill/>
        </p:spPr>
        <p:txBody>
          <a:bodyPr wrap="none" rtlCol="0">
            <a:spAutoFit/>
          </a:bodyPr>
          <a:lstStyle/>
          <a:p>
            <a:pPr algn="ctr"/>
            <a:r>
              <a:rPr lang="en-US" sz="533">
                <a:latin typeface="TT Commons Pro" panose="020B0103030102020204" pitchFamily="34" charset="77"/>
              </a:rPr>
              <a:t>Integration</a:t>
            </a:r>
          </a:p>
        </p:txBody>
      </p:sp>
      <p:pic>
        <p:nvPicPr>
          <p:cNvPr id="60" name="Picture 59" descr="A black and pink logo&#10;&#10;AI-generated content may be incorrect.">
            <a:extLst>
              <a:ext uri="{FF2B5EF4-FFF2-40B4-BE49-F238E27FC236}">
                <a16:creationId xmlns:a16="http://schemas.microsoft.com/office/drawing/2014/main" id="{466BFFDD-A4B2-31C6-4F6C-ABEC19A3C24C}"/>
              </a:ext>
            </a:extLst>
          </p:cNvPr>
          <p:cNvPicPr>
            <a:picLocks noChangeAspect="1"/>
          </p:cNvPicPr>
          <p:nvPr/>
        </p:nvPicPr>
        <p:blipFill>
          <a:blip r:embed="rId12"/>
          <a:stretch>
            <a:fillRect/>
          </a:stretch>
        </p:blipFill>
        <p:spPr>
          <a:xfrm>
            <a:off x="8629948" y="4517577"/>
            <a:ext cx="315840" cy="63935"/>
          </a:xfrm>
          <a:prstGeom prst="rect">
            <a:avLst/>
          </a:prstGeom>
        </p:spPr>
      </p:pic>
      <p:sp>
        <p:nvSpPr>
          <p:cNvPr id="61" name="Oval 60">
            <a:extLst>
              <a:ext uri="{FF2B5EF4-FFF2-40B4-BE49-F238E27FC236}">
                <a16:creationId xmlns:a16="http://schemas.microsoft.com/office/drawing/2014/main" id="{2533A5B7-1220-88BD-93C7-47DFE390D051}"/>
              </a:ext>
            </a:extLst>
          </p:cNvPr>
          <p:cNvSpPr/>
          <p:nvPr/>
        </p:nvSpPr>
        <p:spPr>
          <a:xfrm>
            <a:off x="8836421" y="834142"/>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62" name="TextBox 61">
            <a:extLst>
              <a:ext uri="{FF2B5EF4-FFF2-40B4-BE49-F238E27FC236}">
                <a16:creationId xmlns:a16="http://schemas.microsoft.com/office/drawing/2014/main" id="{73C896D5-6212-6ED4-31DC-C2C36C9147D1}"/>
              </a:ext>
            </a:extLst>
          </p:cNvPr>
          <p:cNvSpPr txBox="1"/>
          <p:nvPr/>
        </p:nvSpPr>
        <p:spPr>
          <a:xfrm>
            <a:off x="8937986" y="918388"/>
            <a:ext cx="319318" cy="215444"/>
          </a:xfrm>
          <a:prstGeom prst="rect">
            <a:avLst/>
          </a:prstGeom>
          <a:noFill/>
        </p:spPr>
        <p:txBody>
          <a:bodyPr wrap="none" rtlCol="0">
            <a:spAutoFit/>
          </a:bodyPr>
          <a:lstStyle/>
          <a:p>
            <a:pPr algn="ctr"/>
            <a:r>
              <a:rPr lang="en-US" sz="533">
                <a:latin typeface="TT Commons Pro" panose="020B0103030102020204" pitchFamily="34" charset="77"/>
              </a:rPr>
              <a:t>Art</a:t>
            </a:r>
          </a:p>
          <a:p>
            <a:pPr algn="ctr"/>
            <a:r>
              <a:rPr lang="en-US" sz="267">
                <a:latin typeface="TT Commons Pro" panose="020B0103030102020204" pitchFamily="34" charset="77"/>
              </a:rPr>
              <a:t>Workflow</a:t>
            </a:r>
            <a:endParaRPr lang="en-US" sz="533">
              <a:latin typeface="TT Commons Pro" panose="020B0103030102020204" pitchFamily="34" charset="77"/>
            </a:endParaRPr>
          </a:p>
        </p:txBody>
      </p:sp>
      <p:pic>
        <p:nvPicPr>
          <p:cNvPr id="63" name="Picture 62" descr="System Requirements">
            <a:extLst>
              <a:ext uri="{FF2B5EF4-FFF2-40B4-BE49-F238E27FC236}">
                <a16:creationId xmlns:a16="http://schemas.microsoft.com/office/drawing/2014/main" id="{B42DE6E9-0990-4409-FC72-143BB0D4184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94645" y="1112076"/>
            <a:ext cx="196280" cy="196280"/>
          </a:xfrm>
          <a:prstGeom prst="rect">
            <a:avLst/>
          </a:prstGeom>
          <a:noFill/>
          <a:effectLst/>
          <a:extLst>
            <a:ext uri="{909E8E84-426E-40DD-AFC4-6F175D3DCCD1}">
              <a14:hiddenFill xmlns:a14="http://schemas.microsoft.com/office/drawing/2010/main">
                <a:solidFill>
                  <a:srgbClr val="FFFFFF"/>
                </a:solidFill>
              </a14:hiddenFill>
            </a:ext>
          </a:extLst>
        </p:spPr>
      </p:pic>
      <p:sp>
        <p:nvSpPr>
          <p:cNvPr id="64" name="Oval 63">
            <a:extLst>
              <a:ext uri="{FF2B5EF4-FFF2-40B4-BE49-F238E27FC236}">
                <a16:creationId xmlns:a16="http://schemas.microsoft.com/office/drawing/2014/main" id="{CD34D221-4CBC-C97D-BB70-AF9F380DB8B3}"/>
              </a:ext>
            </a:extLst>
          </p:cNvPr>
          <p:cNvSpPr/>
          <p:nvPr/>
        </p:nvSpPr>
        <p:spPr>
          <a:xfrm>
            <a:off x="8810141" y="4104043"/>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65" name="TextBox 64">
            <a:extLst>
              <a:ext uri="{FF2B5EF4-FFF2-40B4-BE49-F238E27FC236}">
                <a16:creationId xmlns:a16="http://schemas.microsoft.com/office/drawing/2014/main" id="{44BC9336-8844-4448-BFD1-6742F128874F}"/>
              </a:ext>
            </a:extLst>
          </p:cNvPr>
          <p:cNvSpPr txBox="1"/>
          <p:nvPr/>
        </p:nvSpPr>
        <p:spPr>
          <a:xfrm>
            <a:off x="8874199" y="4241201"/>
            <a:ext cx="383438" cy="174343"/>
          </a:xfrm>
          <a:prstGeom prst="rect">
            <a:avLst/>
          </a:prstGeom>
          <a:noFill/>
        </p:spPr>
        <p:txBody>
          <a:bodyPr wrap="none" rtlCol="0">
            <a:spAutoFit/>
          </a:bodyPr>
          <a:lstStyle/>
          <a:p>
            <a:pPr algn="ctr"/>
            <a:r>
              <a:rPr lang="en-US" sz="533">
                <a:latin typeface="TT Commons Pro" panose="020B0103030102020204" pitchFamily="34" charset="77"/>
              </a:rPr>
              <a:t>Viewer</a:t>
            </a:r>
          </a:p>
        </p:txBody>
      </p:sp>
      <p:pic>
        <p:nvPicPr>
          <p:cNvPr id="66" name="Picture 65" descr="A blue circle with a white eye and a black background&#10;&#10;AI-generated content may be incorrect.">
            <a:extLst>
              <a:ext uri="{FF2B5EF4-FFF2-40B4-BE49-F238E27FC236}">
                <a16:creationId xmlns:a16="http://schemas.microsoft.com/office/drawing/2014/main" id="{26797283-A0C7-C08D-E943-085A2EBF479B}"/>
              </a:ext>
            </a:extLst>
          </p:cNvPr>
          <p:cNvPicPr>
            <a:picLocks noChangeAspect="1"/>
          </p:cNvPicPr>
          <p:nvPr/>
        </p:nvPicPr>
        <p:blipFill>
          <a:blip r:embed="rId14"/>
          <a:stretch>
            <a:fillRect/>
          </a:stretch>
        </p:blipFill>
        <p:spPr>
          <a:xfrm>
            <a:off x="8990793" y="4379211"/>
            <a:ext cx="150251" cy="150251"/>
          </a:xfrm>
          <a:prstGeom prst="rect">
            <a:avLst/>
          </a:prstGeom>
        </p:spPr>
      </p:pic>
      <p:sp>
        <p:nvSpPr>
          <p:cNvPr id="67" name="Freeform 66">
            <a:extLst>
              <a:ext uri="{FF2B5EF4-FFF2-40B4-BE49-F238E27FC236}">
                <a16:creationId xmlns:a16="http://schemas.microsoft.com/office/drawing/2014/main" id="{DCD36CDF-ACA5-D44D-53A2-88F5096A4D60}"/>
              </a:ext>
            </a:extLst>
          </p:cNvPr>
          <p:cNvSpPr/>
          <p:nvPr/>
        </p:nvSpPr>
        <p:spPr>
          <a:xfrm rot="9256127">
            <a:off x="9257461" y="2533899"/>
            <a:ext cx="290612" cy="33738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68" name="Freeform 67">
            <a:extLst>
              <a:ext uri="{FF2B5EF4-FFF2-40B4-BE49-F238E27FC236}">
                <a16:creationId xmlns:a16="http://schemas.microsoft.com/office/drawing/2014/main" id="{ED8DC2E0-7E5C-627D-6593-B7530971BE68}"/>
              </a:ext>
            </a:extLst>
          </p:cNvPr>
          <p:cNvSpPr/>
          <p:nvPr/>
        </p:nvSpPr>
        <p:spPr>
          <a:xfrm rot="21028927">
            <a:off x="10710527" y="2508741"/>
            <a:ext cx="313101" cy="371128"/>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69" name="Freeform 68">
            <a:extLst>
              <a:ext uri="{FF2B5EF4-FFF2-40B4-BE49-F238E27FC236}">
                <a16:creationId xmlns:a16="http://schemas.microsoft.com/office/drawing/2014/main" id="{C2C53287-EE46-1B84-7C2E-DA6A810BEFFA}"/>
              </a:ext>
            </a:extLst>
          </p:cNvPr>
          <p:cNvSpPr/>
          <p:nvPr/>
        </p:nvSpPr>
        <p:spPr>
          <a:xfrm rot="3749002">
            <a:off x="7249087" y="2461547"/>
            <a:ext cx="281879" cy="444677"/>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70" name="Freeform 69">
            <a:extLst>
              <a:ext uri="{FF2B5EF4-FFF2-40B4-BE49-F238E27FC236}">
                <a16:creationId xmlns:a16="http://schemas.microsoft.com/office/drawing/2014/main" id="{65897A4F-4653-DE4F-CE0A-F023EF63967B}"/>
              </a:ext>
            </a:extLst>
          </p:cNvPr>
          <p:cNvSpPr/>
          <p:nvPr/>
        </p:nvSpPr>
        <p:spPr>
          <a:xfrm rot="8551059">
            <a:off x="8549383" y="1718516"/>
            <a:ext cx="313101" cy="69649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06288 w 396235"/>
              <a:gd name="csY5" fmla="*/ 271274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06288 w 396235"/>
              <a:gd name="csY5" fmla="*/ 271274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99322" y="315563"/>
                  <a:pt x="106288" y="271274"/>
                </a:cubicBezTo>
                <a:cubicBezTo>
                  <a:pt x="161306" y="175313"/>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71" name="Freeform 70">
            <a:extLst>
              <a:ext uri="{FF2B5EF4-FFF2-40B4-BE49-F238E27FC236}">
                <a16:creationId xmlns:a16="http://schemas.microsoft.com/office/drawing/2014/main" id="{42EFD1C5-FC33-D519-25EB-2BD37B451950}"/>
              </a:ext>
            </a:extLst>
          </p:cNvPr>
          <p:cNvSpPr/>
          <p:nvPr/>
        </p:nvSpPr>
        <p:spPr>
          <a:xfrm rot="14663104">
            <a:off x="7899400" y="1917745"/>
            <a:ext cx="313101" cy="295847"/>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36963 w 396235"/>
              <a:gd name="csY5" fmla="*/ 315775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207603" y="338458"/>
                  <a:pt x="136963" y="315775"/>
                </a:cubicBezTo>
                <a:cubicBezTo>
                  <a:pt x="191981" y="219814"/>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72" name="Freeform 71">
            <a:extLst>
              <a:ext uri="{FF2B5EF4-FFF2-40B4-BE49-F238E27FC236}">
                <a16:creationId xmlns:a16="http://schemas.microsoft.com/office/drawing/2014/main" id="{3A7D7E53-0C39-1526-85B3-272B74009626}"/>
              </a:ext>
            </a:extLst>
          </p:cNvPr>
          <p:cNvSpPr/>
          <p:nvPr/>
        </p:nvSpPr>
        <p:spPr>
          <a:xfrm rot="3749002">
            <a:off x="8603914" y="1239116"/>
            <a:ext cx="281879" cy="40236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73" name="Freeform 72">
            <a:extLst>
              <a:ext uri="{FF2B5EF4-FFF2-40B4-BE49-F238E27FC236}">
                <a16:creationId xmlns:a16="http://schemas.microsoft.com/office/drawing/2014/main" id="{F2ADA971-CEBC-7BB9-2533-B77D724E5414}"/>
              </a:ext>
            </a:extLst>
          </p:cNvPr>
          <p:cNvSpPr/>
          <p:nvPr/>
        </p:nvSpPr>
        <p:spPr>
          <a:xfrm rot="9707615">
            <a:off x="9284665" y="1253993"/>
            <a:ext cx="281879" cy="36621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74" name="Freeform 73">
            <a:extLst>
              <a:ext uri="{FF2B5EF4-FFF2-40B4-BE49-F238E27FC236}">
                <a16:creationId xmlns:a16="http://schemas.microsoft.com/office/drawing/2014/main" id="{0B98123C-55B5-7B89-A170-57E9CD0EAD01}"/>
              </a:ext>
            </a:extLst>
          </p:cNvPr>
          <p:cNvSpPr/>
          <p:nvPr/>
        </p:nvSpPr>
        <p:spPr>
          <a:xfrm rot="20682323">
            <a:off x="10017291" y="1890606"/>
            <a:ext cx="281879" cy="40236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75" name="Oval 74">
            <a:extLst>
              <a:ext uri="{FF2B5EF4-FFF2-40B4-BE49-F238E27FC236}">
                <a16:creationId xmlns:a16="http://schemas.microsoft.com/office/drawing/2014/main" id="{73B17FA4-5543-1CC4-0220-78192CB3E5A9}"/>
              </a:ext>
            </a:extLst>
          </p:cNvPr>
          <p:cNvSpPr/>
          <p:nvPr/>
        </p:nvSpPr>
        <p:spPr>
          <a:xfrm>
            <a:off x="10250811" y="2148749"/>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76" name="TextBox 75">
            <a:extLst>
              <a:ext uri="{FF2B5EF4-FFF2-40B4-BE49-F238E27FC236}">
                <a16:creationId xmlns:a16="http://schemas.microsoft.com/office/drawing/2014/main" id="{3B8F81ED-7E32-A023-359D-CA8FE9C050E6}"/>
              </a:ext>
            </a:extLst>
          </p:cNvPr>
          <p:cNvSpPr txBox="1"/>
          <p:nvPr/>
        </p:nvSpPr>
        <p:spPr>
          <a:xfrm>
            <a:off x="10302353" y="2266430"/>
            <a:ext cx="409086" cy="174343"/>
          </a:xfrm>
          <a:prstGeom prst="rect">
            <a:avLst/>
          </a:prstGeom>
          <a:noFill/>
        </p:spPr>
        <p:txBody>
          <a:bodyPr wrap="none" rtlCol="0">
            <a:spAutoFit/>
          </a:bodyPr>
          <a:lstStyle/>
          <a:p>
            <a:pPr algn="ctr"/>
            <a:r>
              <a:rPr lang="en-US" sz="533">
                <a:latin typeface="TT Commons Pro" panose="020B0103030102020204" pitchFamily="34" charset="77"/>
              </a:rPr>
              <a:t>Comply</a:t>
            </a:r>
          </a:p>
        </p:txBody>
      </p:sp>
      <p:pic>
        <p:nvPicPr>
          <p:cNvPr id="77" name="Picture 76" descr="A blue circle with white check mark in it&#10;&#10;AI-generated content may be incorrect.">
            <a:extLst>
              <a:ext uri="{FF2B5EF4-FFF2-40B4-BE49-F238E27FC236}">
                <a16:creationId xmlns:a16="http://schemas.microsoft.com/office/drawing/2014/main" id="{5A5CAE9A-F09F-73EA-2C02-07F135ED6C3F}"/>
              </a:ext>
            </a:extLst>
          </p:cNvPr>
          <p:cNvPicPr>
            <a:picLocks noChangeAspect="1"/>
          </p:cNvPicPr>
          <p:nvPr/>
        </p:nvPicPr>
        <p:blipFill>
          <a:blip r:embed="rId15"/>
          <a:stretch>
            <a:fillRect/>
          </a:stretch>
        </p:blipFill>
        <p:spPr>
          <a:xfrm>
            <a:off x="10421279" y="2420150"/>
            <a:ext cx="164884" cy="164884"/>
          </a:xfrm>
          <a:prstGeom prst="rect">
            <a:avLst/>
          </a:prstGeom>
        </p:spPr>
      </p:pic>
      <p:sp>
        <p:nvSpPr>
          <p:cNvPr id="78" name="Oval 77">
            <a:extLst>
              <a:ext uri="{FF2B5EF4-FFF2-40B4-BE49-F238E27FC236}">
                <a16:creationId xmlns:a16="http://schemas.microsoft.com/office/drawing/2014/main" id="{64F674D8-234E-19BC-6B78-461C951963B0}"/>
              </a:ext>
            </a:extLst>
          </p:cNvPr>
          <p:cNvSpPr/>
          <p:nvPr/>
        </p:nvSpPr>
        <p:spPr>
          <a:xfrm>
            <a:off x="8823843" y="849343"/>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79" name="TextBox 78">
            <a:extLst>
              <a:ext uri="{FF2B5EF4-FFF2-40B4-BE49-F238E27FC236}">
                <a16:creationId xmlns:a16="http://schemas.microsoft.com/office/drawing/2014/main" id="{1B275AFC-85B8-F2E8-D381-7F5561A7FFC8}"/>
              </a:ext>
            </a:extLst>
          </p:cNvPr>
          <p:cNvSpPr txBox="1"/>
          <p:nvPr/>
        </p:nvSpPr>
        <p:spPr>
          <a:xfrm>
            <a:off x="8894752" y="930473"/>
            <a:ext cx="340158" cy="215444"/>
          </a:xfrm>
          <a:prstGeom prst="rect">
            <a:avLst/>
          </a:prstGeom>
          <a:noFill/>
        </p:spPr>
        <p:txBody>
          <a:bodyPr wrap="none" rtlCol="0">
            <a:spAutoFit/>
          </a:bodyPr>
          <a:lstStyle/>
          <a:p>
            <a:pPr algn="ctr"/>
            <a:r>
              <a:rPr lang="en-US" sz="533">
                <a:latin typeface="TT Commons Pro" panose="020B0103030102020204" pitchFamily="34" charset="77"/>
              </a:rPr>
              <a:t>Copy</a:t>
            </a:r>
          </a:p>
          <a:p>
            <a:pPr algn="ctr"/>
            <a:r>
              <a:rPr lang="en-US" sz="267">
                <a:latin typeface="TT Commons Pro" panose="020B0103030102020204" pitchFamily="34" charset="77"/>
              </a:rPr>
              <a:t>Workflow</a:t>
            </a:r>
            <a:endParaRPr lang="en-US" sz="533">
              <a:latin typeface="TT Commons Pro" panose="020B0103030102020204" pitchFamily="34" charset="77"/>
            </a:endParaRPr>
          </a:p>
        </p:txBody>
      </p:sp>
      <p:pic>
        <p:nvPicPr>
          <p:cNvPr id="80" name="Picture 79" descr="System Requirements">
            <a:extLst>
              <a:ext uri="{FF2B5EF4-FFF2-40B4-BE49-F238E27FC236}">
                <a16:creationId xmlns:a16="http://schemas.microsoft.com/office/drawing/2014/main" id="{D215788A-B24D-D324-3EF7-BE12B581DDF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68915" y="1127185"/>
            <a:ext cx="196280" cy="196280"/>
          </a:xfrm>
          <a:prstGeom prst="rect">
            <a:avLst/>
          </a:prstGeom>
          <a:noFill/>
          <a:effectLst/>
          <a:extLst>
            <a:ext uri="{909E8E84-426E-40DD-AFC4-6F175D3DCCD1}">
              <a14:hiddenFill xmlns:a14="http://schemas.microsoft.com/office/drawing/2010/main">
                <a:solidFill>
                  <a:srgbClr val="FFFFFF"/>
                </a:solidFill>
              </a14:hiddenFill>
            </a:ext>
          </a:extLst>
        </p:spPr>
      </p:pic>
      <p:sp>
        <p:nvSpPr>
          <p:cNvPr id="81" name="Oval 80">
            <a:extLst>
              <a:ext uri="{FF2B5EF4-FFF2-40B4-BE49-F238E27FC236}">
                <a16:creationId xmlns:a16="http://schemas.microsoft.com/office/drawing/2014/main" id="{1113B271-45C9-E2D4-A94F-E003B419299A}"/>
              </a:ext>
            </a:extLst>
          </p:cNvPr>
          <p:cNvSpPr/>
          <p:nvPr/>
        </p:nvSpPr>
        <p:spPr>
          <a:xfrm>
            <a:off x="8836421" y="2182747"/>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82" name="TextBox 81">
            <a:extLst>
              <a:ext uri="{FF2B5EF4-FFF2-40B4-BE49-F238E27FC236}">
                <a16:creationId xmlns:a16="http://schemas.microsoft.com/office/drawing/2014/main" id="{B772DCBB-E886-718F-F8D4-98FBA769BF42}"/>
              </a:ext>
            </a:extLst>
          </p:cNvPr>
          <p:cNvSpPr txBox="1"/>
          <p:nvPr/>
        </p:nvSpPr>
        <p:spPr>
          <a:xfrm>
            <a:off x="8865344" y="2277297"/>
            <a:ext cx="470000" cy="215444"/>
          </a:xfrm>
          <a:prstGeom prst="rect">
            <a:avLst/>
          </a:prstGeom>
          <a:noFill/>
        </p:spPr>
        <p:txBody>
          <a:bodyPr wrap="none" rtlCol="0">
            <a:spAutoFit/>
          </a:bodyPr>
          <a:lstStyle/>
          <a:p>
            <a:pPr algn="ctr"/>
            <a:r>
              <a:rPr lang="en-US" sz="533">
                <a:latin typeface="TT Commons Pro" panose="020B0103030102020204" pitchFamily="34" charset="77"/>
              </a:rPr>
              <a:t>Pre-press</a:t>
            </a:r>
          </a:p>
          <a:p>
            <a:pPr algn="ctr"/>
            <a:r>
              <a:rPr lang="en-US" sz="267">
                <a:latin typeface="TT Commons Pro" panose="020B0103030102020204" pitchFamily="34" charset="77"/>
              </a:rPr>
              <a:t>Workflow</a:t>
            </a:r>
            <a:endParaRPr lang="en-US" sz="533">
              <a:latin typeface="TT Commons Pro" panose="020B0103030102020204" pitchFamily="34" charset="77"/>
            </a:endParaRPr>
          </a:p>
        </p:txBody>
      </p:sp>
      <p:pic>
        <p:nvPicPr>
          <p:cNvPr id="83" name="Picture 82" descr="A blue circle with white spiral logo and arrow&#10;&#10;AI-generated content may be incorrect.">
            <a:extLst>
              <a:ext uri="{FF2B5EF4-FFF2-40B4-BE49-F238E27FC236}">
                <a16:creationId xmlns:a16="http://schemas.microsoft.com/office/drawing/2014/main" id="{C3B07FBD-B5B7-D157-7C4A-BD68D36F8008}"/>
              </a:ext>
            </a:extLst>
          </p:cNvPr>
          <p:cNvPicPr>
            <a:picLocks noChangeAspect="1"/>
          </p:cNvPicPr>
          <p:nvPr/>
        </p:nvPicPr>
        <p:blipFill>
          <a:blip r:embed="rId16"/>
          <a:stretch>
            <a:fillRect/>
          </a:stretch>
        </p:blipFill>
        <p:spPr>
          <a:xfrm>
            <a:off x="9046420" y="2493150"/>
            <a:ext cx="124067" cy="123497"/>
          </a:xfrm>
          <a:prstGeom prst="rect">
            <a:avLst/>
          </a:prstGeom>
        </p:spPr>
      </p:pic>
      <p:sp>
        <p:nvSpPr>
          <p:cNvPr id="84" name="Oval 83">
            <a:extLst>
              <a:ext uri="{FF2B5EF4-FFF2-40B4-BE49-F238E27FC236}">
                <a16:creationId xmlns:a16="http://schemas.microsoft.com/office/drawing/2014/main" id="{14057D36-E15B-2D2A-47FB-0F1168ED080A}"/>
              </a:ext>
            </a:extLst>
          </p:cNvPr>
          <p:cNvSpPr/>
          <p:nvPr/>
        </p:nvSpPr>
        <p:spPr>
          <a:xfrm>
            <a:off x="8908882" y="4004333"/>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85" name="TextBox 84">
            <a:extLst>
              <a:ext uri="{FF2B5EF4-FFF2-40B4-BE49-F238E27FC236}">
                <a16:creationId xmlns:a16="http://schemas.microsoft.com/office/drawing/2014/main" id="{DCEBF84C-92DD-7BD1-810C-AF002179A205}"/>
              </a:ext>
            </a:extLst>
          </p:cNvPr>
          <p:cNvSpPr txBox="1"/>
          <p:nvPr/>
        </p:nvSpPr>
        <p:spPr>
          <a:xfrm>
            <a:off x="8983362" y="4118849"/>
            <a:ext cx="362599" cy="256352"/>
          </a:xfrm>
          <a:prstGeom prst="rect">
            <a:avLst/>
          </a:prstGeom>
          <a:noFill/>
        </p:spPr>
        <p:txBody>
          <a:bodyPr wrap="none" rtlCol="0">
            <a:spAutoFit/>
          </a:bodyPr>
          <a:lstStyle/>
          <a:p>
            <a:pPr algn="ctr"/>
            <a:r>
              <a:rPr lang="en-US" sz="533">
                <a:latin typeface="TT Commons Pro" panose="020B0103030102020204" pitchFamily="34" charset="77"/>
              </a:rPr>
              <a:t>Art</a:t>
            </a:r>
          </a:p>
          <a:p>
            <a:pPr algn="ctr"/>
            <a:r>
              <a:rPr lang="en-US" sz="533">
                <a:latin typeface="TT Commons Pro" panose="020B0103030102020204" pitchFamily="34" charset="77"/>
              </a:rPr>
              <a:t>Agent</a:t>
            </a:r>
          </a:p>
        </p:txBody>
      </p:sp>
      <p:sp>
        <p:nvSpPr>
          <p:cNvPr id="86" name="Oval 85">
            <a:extLst>
              <a:ext uri="{FF2B5EF4-FFF2-40B4-BE49-F238E27FC236}">
                <a16:creationId xmlns:a16="http://schemas.microsoft.com/office/drawing/2014/main" id="{F73D36CB-76ED-B64F-CB8F-D5FA8FDA8331}"/>
              </a:ext>
            </a:extLst>
          </p:cNvPr>
          <p:cNvSpPr/>
          <p:nvPr/>
        </p:nvSpPr>
        <p:spPr>
          <a:xfrm>
            <a:off x="8815285" y="887755"/>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87" name="TextBox 86">
            <a:extLst>
              <a:ext uri="{FF2B5EF4-FFF2-40B4-BE49-F238E27FC236}">
                <a16:creationId xmlns:a16="http://schemas.microsoft.com/office/drawing/2014/main" id="{45FE918E-D6ED-8A1D-50ED-B9988A1DD48B}"/>
              </a:ext>
            </a:extLst>
          </p:cNvPr>
          <p:cNvSpPr txBox="1"/>
          <p:nvPr/>
        </p:nvSpPr>
        <p:spPr>
          <a:xfrm>
            <a:off x="8834458" y="1035756"/>
            <a:ext cx="473206" cy="174343"/>
          </a:xfrm>
          <a:prstGeom prst="rect">
            <a:avLst/>
          </a:prstGeom>
          <a:noFill/>
        </p:spPr>
        <p:txBody>
          <a:bodyPr wrap="none" rtlCol="0">
            <a:spAutoFit/>
          </a:bodyPr>
          <a:lstStyle/>
          <a:p>
            <a:pPr algn="ctr"/>
            <a:r>
              <a:rPr lang="en-US" sz="533">
                <a:latin typeface="TT Commons Pro" panose="020B0103030102020204" pitchFamily="34" charset="77"/>
              </a:rPr>
              <a:t>Approvals</a:t>
            </a:r>
          </a:p>
        </p:txBody>
      </p:sp>
      <p:pic>
        <p:nvPicPr>
          <p:cNvPr id="88" name="Picture 87" descr="System Requirements">
            <a:extLst>
              <a:ext uri="{FF2B5EF4-FFF2-40B4-BE49-F238E27FC236}">
                <a16:creationId xmlns:a16="http://schemas.microsoft.com/office/drawing/2014/main" id="{375AD834-5565-C8E5-2A61-00AE2CA7EA5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72923" y="1175752"/>
            <a:ext cx="196280" cy="196280"/>
          </a:xfrm>
          <a:prstGeom prst="rect">
            <a:avLst/>
          </a:prstGeom>
          <a:noFill/>
          <a:effectLst/>
          <a:extLst>
            <a:ext uri="{909E8E84-426E-40DD-AFC4-6F175D3DCCD1}">
              <a14:hiddenFill xmlns:a14="http://schemas.microsoft.com/office/drawing/2010/main">
                <a:solidFill>
                  <a:srgbClr val="FFFFFF"/>
                </a:solidFill>
              </a14:hiddenFill>
            </a:ext>
          </a:extLst>
        </p:spPr>
      </p:pic>
      <p:sp>
        <p:nvSpPr>
          <p:cNvPr id="89" name="Oval 88">
            <a:extLst>
              <a:ext uri="{FF2B5EF4-FFF2-40B4-BE49-F238E27FC236}">
                <a16:creationId xmlns:a16="http://schemas.microsoft.com/office/drawing/2014/main" id="{2074E5B5-B826-981E-1009-927FBA851B54}"/>
              </a:ext>
            </a:extLst>
          </p:cNvPr>
          <p:cNvSpPr/>
          <p:nvPr/>
        </p:nvSpPr>
        <p:spPr>
          <a:xfrm>
            <a:off x="8906634" y="4260111"/>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90" name="TextBox 89">
            <a:extLst>
              <a:ext uri="{FF2B5EF4-FFF2-40B4-BE49-F238E27FC236}">
                <a16:creationId xmlns:a16="http://schemas.microsoft.com/office/drawing/2014/main" id="{606EFEB9-63DB-DACC-4034-B92F707E1B15}"/>
              </a:ext>
            </a:extLst>
          </p:cNvPr>
          <p:cNvSpPr txBox="1"/>
          <p:nvPr/>
        </p:nvSpPr>
        <p:spPr>
          <a:xfrm>
            <a:off x="8941040" y="4427602"/>
            <a:ext cx="442749" cy="174343"/>
          </a:xfrm>
          <a:prstGeom prst="rect">
            <a:avLst/>
          </a:prstGeom>
          <a:noFill/>
        </p:spPr>
        <p:txBody>
          <a:bodyPr wrap="none" rtlCol="0">
            <a:spAutoFit/>
          </a:bodyPr>
          <a:lstStyle/>
          <a:p>
            <a:pPr algn="ctr"/>
            <a:r>
              <a:rPr lang="en-US" sz="533">
                <a:latin typeface="TT Commons Pro" panose="020B0103030102020204" pitchFamily="34" charset="77"/>
              </a:rPr>
              <a:t>Interpret</a:t>
            </a:r>
          </a:p>
        </p:txBody>
      </p:sp>
      <p:sp>
        <p:nvSpPr>
          <p:cNvPr id="91" name="Oval 90">
            <a:extLst>
              <a:ext uri="{FF2B5EF4-FFF2-40B4-BE49-F238E27FC236}">
                <a16:creationId xmlns:a16="http://schemas.microsoft.com/office/drawing/2014/main" id="{5556516C-FF0E-7EA4-681B-3F810416C5DB}"/>
              </a:ext>
            </a:extLst>
          </p:cNvPr>
          <p:cNvSpPr/>
          <p:nvPr/>
        </p:nvSpPr>
        <p:spPr>
          <a:xfrm>
            <a:off x="8650855" y="4076698"/>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92" name="TextBox 91">
            <a:extLst>
              <a:ext uri="{FF2B5EF4-FFF2-40B4-BE49-F238E27FC236}">
                <a16:creationId xmlns:a16="http://schemas.microsoft.com/office/drawing/2014/main" id="{ED6833C5-25FA-6B11-5AB4-0F153A63F01C}"/>
              </a:ext>
            </a:extLst>
          </p:cNvPr>
          <p:cNvSpPr txBox="1"/>
          <p:nvPr/>
        </p:nvSpPr>
        <p:spPr>
          <a:xfrm>
            <a:off x="8710910" y="4244189"/>
            <a:ext cx="391454" cy="174343"/>
          </a:xfrm>
          <a:prstGeom prst="rect">
            <a:avLst/>
          </a:prstGeom>
          <a:noFill/>
        </p:spPr>
        <p:txBody>
          <a:bodyPr wrap="none" rtlCol="0">
            <a:spAutoFit/>
          </a:bodyPr>
          <a:lstStyle/>
          <a:p>
            <a:pPr algn="ctr"/>
            <a:r>
              <a:rPr lang="en-US" sz="533">
                <a:latin typeface="TT Commons Pro" panose="020B0103030102020204" pitchFamily="34" charset="77"/>
              </a:rPr>
              <a:t>Extract</a:t>
            </a:r>
          </a:p>
        </p:txBody>
      </p:sp>
      <p:sp>
        <p:nvSpPr>
          <p:cNvPr id="93" name="Oval 92">
            <a:extLst>
              <a:ext uri="{FF2B5EF4-FFF2-40B4-BE49-F238E27FC236}">
                <a16:creationId xmlns:a16="http://schemas.microsoft.com/office/drawing/2014/main" id="{B0B45827-B5A4-E97F-6907-C24FF50D4AEE}"/>
              </a:ext>
            </a:extLst>
          </p:cNvPr>
          <p:cNvSpPr/>
          <p:nvPr/>
        </p:nvSpPr>
        <p:spPr>
          <a:xfrm>
            <a:off x="8828693" y="4359823"/>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94" name="TextBox 93">
            <a:extLst>
              <a:ext uri="{FF2B5EF4-FFF2-40B4-BE49-F238E27FC236}">
                <a16:creationId xmlns:a16="http://schemas.microsoft.com/office/drawing/2014/main" id="{F97CA736-F920-317C-EAD7-232CD411A3AC}"/>
              </a:ext>
            </a:extLst>
          </p:cNvPr>
          <p:cNvSpPr txBox="1"/>
          <p:nvPr/>
        </p:nvSpPr>
        <p:spPr>
          <a:xfrm>
            <a:off x="8911188" y="4403662"/>
            <a:ext cx="346569" cy="174343"/>
          </a:xfrm>
          <a:prstGeom prst="rect">
            <a:avLst/>
          </a:prstGeom>
          <a:noFill/>
        </p:spPr>
        <p:txBody>
          <a:bodyPr wrap="none" rtlCol="0">
            <a:spAutoFit/>
          </a:bodyPr>
          <a:lstStyle/>
          <a:p>
            <a:pPr algn="ctr"/>
            <a:r>
              <a:rPr lang="en-US" sz="533">
                <a:latin typeface="TT Commons Pro" panose="020B0103030102020204" pitchFamily="34" charset="77"/>
              </a:rPr>
              <a:t>Asset</a:t>
            </a:r>
          </a:p>
        </p:txBody>
      </p:sp>
      <p:pic>
        <p:nvPicPr>
          <p:cNvPr id="95" name="Picture 94">
            <a:extLst>
              <a:ext uri="{FF2B5EF4-FFF2-40B4-BE49-F238E27FC236}">
                <a16:creationId xmlns:a16="http://schemas.microsoft.com/office/drawing/2014/main" id="{7D5B3B26-6DCC-3004-03E9-BCFD399E1DE2}"/>
              </a:ext>
            </a:extLst>
          </p:cNvPr>
          <p:cNvPicPr>
            <a:picLocks noChangeAspect="1"/>
          </p:cNvPicPr>
          <p:nvPr/>
        </p:nvPicPr>
        <p:blipFill>
          <a:blip r:embed="rId17"/>
          <a:stretch>
            <a:fillRect/>
          </a:stretch>
        </p:blipFill>
        <p:spPr>
          <a:xfrm>
            <a:off x="8946828" y="4573222"/>
            <a:ext cx="277491" cy="231839"/>
          </a:xfrm>
          <a:prstGeom prst="rect">
            <a:avLst/>
          </a:prstGeom>
          <a:scene3d>
            <a:camera prst="perspectiveContrastingLeftFacing">
              <a:rot lat="547295" lon="1726325" rev="21531642"/>
            </a:camera>
            <a:lightRig rig="threePt" dir="t"/>
          </a:scene3d>
          <a:sp3d/>
        </p:spPr>
      </p:pic>
      <p:sp>
        <p:nvSpPr>
          <p:cNvPr id="96" name="Oval 95">
            <a:extLst>
              <a:ext uri="{FF2B5EF4-FFF2-40B4-BE49-F238E27FC236}">
                <a16:creationId xmlns:a16="http://schemas.microsoft.com/office/drawing/2014/main" id="{58C8412A-0432-574A-96E0-170D0DCB858F}"/>
              </a:ext>
            </a:extLst>
          </p:cNvPr>
          <p:cNvSpPr/>
          <p:nvPr/>
        </p:nvSpPr>
        <p:spPr>
          <a:xfrm>
            <a:off x="8816859" y="825831"/>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97" name="TextBox 96">
            <a:extLst>
              <a:ext uri="{FF2B5EF4-FFF2-40B4-BE49-F238E27FC236}">
                <a16:creationId xmlns:a16="http://schemas.microsoft.com/office/drawing/2014/main" id="{EB20C82E-7F08-1FB4-47F7-702C5B0D82B4}"/>
              </a:ext>
            </a:extLst>
          </p:cNvPr>
          <p:cNvSpPr txBox="1"/>
          <p:nvPr/>
        </p:nvSpPr>
        <p:spPr>
          <a:xfrm>
            <a:off x="8858472" y="907293"/>
            <a:ext cx="428322" cy="215444"/>
          </a:xfrm>
          <a:prstGeom prst="rect">
            <a:avLst/>
          </a:prstGeom>
          <a:noFill/>
        </p:spPr>
        <p:txBody>
          <a:bodyPr wrap="none" rtlCol="0">
            <a:spAutoFit/>
          </a:bodyPr>
          <a:lstStyle/>
          <a:p>
            <a:pPr algn="ctr"/>
            <a:r>
              <a:rPr lang="en-US" sz="533">
                <a:latin typeface="TT Commons Pro" panose="020B0103030102020204" pitchFamily="34" charset="77"/>
              </a:rPr>
              <a:t>Content</a:t>
            </a:r>
          </a:p>
          <a:p>
            <a:pPr algn="ctr"/>
            <a:r>
              <a:rPr lang="en-US" sz="267">
                <a:latin typeface="TT Commons Pro" panose="020B0103030102020204" pitchFamily="34" charset="77"/>
              </a:rPr>
              <a:t>Library</a:t>
            </a:r>
            <a:endParaRPr lang="en-US" sz="533">
              <a:latin typeface="TT Commons Pro" panose="020B0103030102020204" pitchFamily="34" charset="77"/>
            </a:endParaRPr>
          </a:p>
        </p:txBody>
      </p:sp>
      <p:pic>
        <p:nvPicPr>
          <p:cNvPr id="98" name="Picture 97" descr="System Requirements">
            <a:extLst>
              <a:ext uri="{FF2B5EF4-FFF2-40B4-BE49-F238E27FC236}">
                <a16:creationId xmlns:a16="http://schemas.microsoft.com/office/drawing/2014/main" id="{84F63C19-E9A0-CC4D-45DC-F2CB807D6C4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74496" y="1096107"/>
            <a:ext cx="196280" cy="196280"/>
          </a:xfrm>
          <a:prstGeom prst="rect">
            <a:avLst/>
          </a:prstGeom>
          <a:noFill/>
          <a:effectLst/>
          <a:extLst>
            <a:ext uri="{909E8E84-426E-40DD-AFC4-6F175D3DCCD1}">
              <a14:hiddenFill xmlns:a14="http://schemas.microsoft.com/office/drawing/2010/main">
                <a:solidFill>
                  <a:srgbClr val="FFFFFF"/>
                </a:solidFill>
              </a14:hiddenFill>
            </a:ext>
          </a:extLst>
        </p:spPr>
      </p:pic>
      <p:sp>
        <p:nvSpPr>
          <p:cNvPr id="99" name="Oval 98">
            <a:extLst>
              <a:ext uri="{FF2B5EF4-FFF2-40B4-BE49-F238E27FC236}">
                <a16:creationId xmlns:a16="http://schemas.microsoft.com/office/drawing/2014/main" id="{07B8C157-9BB6-C1DA-B19F-641714D1795F}"/>
              </a:ext>
            </a:extLst>
          </p:cNvPr>
          <p:cNvSpPr/>
          <p:nvPr/>
        </p:nvSpPr>
        <p:spPr>
          <a:xfrm>
            <a:off x="8807103" y="840321"/>
            <a:ext cx="511559" cy="511559"/>
          </a:xfrm>
          <a:prstGeom prst="ellipse">
            <a:avLst/>
          </a:prstGeom>
          <a:gradFill flip="none" rotWithShape="1">
            <a:gsLst>
              <a:gs pos="79000">
                <a:schemeClr val="bg1">
                  <a:alpha val="0"/>
                </a:schemeClr>
              </a:gs>
              <a:gs pos="59000">
                <a:srgbClr val="434B53">
                  <a:alpha val="79572"/>
                </a:srgbClr>
              </a:gs>
              <a:gs pos="0">
                <a:srgbClr val="93A5B5"/>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
        <p:nvSpPr>
          <p:cNvPr id="100" name="TextBox 99">
            <a:extLst>
              <a:ext uri="{FF2B5EF4-FFF2-40B4-BE49-F238E27FC236}">
                <a16:creationId xmlns:a16="http://schemas.microsoft.com/office/drawing/2014/main" id="{5C5B7545-9B9E-E097-2C51-A4B7563C0FD9}"/>
              </a:ext>
            </a:extLst>
          </p:cNvPr>
          <p:cNvSpPr txBox="1"/>
          <p:nvPr/>
        </p:nvSpPr>
        <p:spPr>
          <a:xfrm>
            <a:off x="8826278" y="988321"/>
            <a:ext cx="473206" cy="174343"/>
          </a:xfrm>
          <a:prstGeom prst="rect">
            <a:avLst/>
          </a:prstGeom>
          <a:noFill/>
        </p:spPr>
        <p:txBody>
          <a:bodyPr wrap="none" rtlCol="0">
            <a:spAutoFit/>
          </a:bodyPr>
          <a:lstStyle/>
          <a:p>
            <a:pPr algn="ctr"/>
            <a:r>
              <a:rPr lang="en-US" sz="533">
                <a:latin typeface="TT Commons Pro" panose="020B0103030102020204" pitchFamily="34" charset="77"/>
              </a:rPr>
              <a:t>Approvals</a:t>
            </a:r>
          </a:p>
        </p:txBody>
      </p:sp>
      <p:pic>
        <p:nvPicPr>
          <p:cNvPr id="101" name="Picture 100" descr="System Requirements">
            <a:extLst>
              <a:ext uri="{FF2B5EF4-FFF2-40B4-BE49-F238E27FC236}">
                <a16:creationId xmlns:a16="http://schemas.microsoft.com/office/drawing/2014/main" id="{3BAF17E3-8158-FED2-F069-E1D59AEE093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54212" y="1124481"/>
            <a:ext cx="196280" cy="19628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2" name="Picture 101" descr="Logo&#10;&#10;Description automatically generated">
            <a:extLst>
              <a:ext uri="{FF2B5EF4-FFF2-40B4-BE49-F238E27FC236}">
                <a16:creationId xmlns:a16="http://schemas.microsoft.com/office/drawing/2014/main" id="{B287D719-FFCB-62C6-ED33-A4EED73A66C0}"/>
              </a:ext>
            </a:extLst>
          </p:cNvPr>
          <p:cNvPicPr>
            <a:picLocks noChangeAspect="1"/>
          </p:cNvPicPr>
          <p:nvPr/>
        </p:nvPicPr>
        <p:blipFill rotWithShape="1">
          <a:blip r:embed="rId18">
            <a:extLst>
              <a:ext uri="{BEBA8EAE-BF5A-486C-A8C5-ECC9F3942E4B}">
                <a14:imgProps xmlns:a14="http://schemas.microsoft.com/office/drawing/2010/main">
                  <a14:imgLayer r:embed="rId19">
                    <a14:imgEffect>
                      <a14:backgroundRemoval t="10000" b="90000" l="10000" r="90000"/>
                    </a14:imgEffect>
                  </a14:imgLayer>
                </a14:imgProps>
              </a:ext>
            </a:extLst>
          </a:blip>
          <a:srcRect l="22777" t="22122" r="21489" b="22143"/>
          <a:stretch/>
        </p:blipFill>
        <p:spPr>
          <a:xfrm>
            <a:off x="9482775" y="2660307"/>
            <a:ext cx="633607" cy="633607"/>
          </a:xfrm>
          <a:prstGeom prst="rect">
            <a:avLst/>
          </a:prstGeom>
        </p:spPr>
      </p:pic>
      <p:sp>
        <p:nvSpPr>
          <p:cNvPr id="103" name="Bent Arrow 102">
            <a:extLst>
              <a:ext uri="{FF2B5EF4-FFF2-40B4-BE49-F238E27FC236}">
                <a16:creationId xmlns:a16="http://schemas.microsoft.com/office/drawing/2014/main" id="{1014FB9D-B93E-C78D-B5C9-A780396340B9}"/>
              </a:ext>
            </a:extLst>
          </p:cNvPr>
          <p:cNvSpPr/>
          <p:nvPr/>
        </p:nvSpPr>
        <p:spPr>
          <a:xfrm rot="10800000">
            <a:off x="9922689" y="3435008"/>
            <a:ext cx="1466707" cy="1466707"/>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104" name="Bent Arrow 103">
            <a:extLst>
              <a:ext uri="{FF2B5EF4-FFF2-40B4-BE49-F238E27FC236}">
                <a16:creationId xmlns:a16="http://schemas.microsoft.com/office/drawing/2014/main" id="{9F8B9C79-B3E1-6D69-CF98-C1B4B0A0E152}"/>
              </a:ext>
            </a:extLst>
          </p:cNvPr>
          <p:cNvSpPr/>
          <p:nvPr/>
        </p:nvSpPr>
        <p:spPr>
          <a:xfrm rot="10800000" flipH="1">
            <a:off x="6810128" y="3425841"/>
            <a:ext cx="1466707" cy="1466707"/>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pic>
        <p:nvPicPr>
          <p:cNvPr id="105" name="Picture 104" descr="System Requirements">
            <a:extLst>
              <a:ext uri="{FF2B5EF4-FFF2-40B4-BE49-F238E27FC236}">
                <a16:creationId xmlns:a16="http://schemas.microsoft.com/office/drawing/2014/main" id="{07C42797-D487-69B3-6182-48F2D696552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620001" y="608700"/>
            <a:ext cx="927801" cy="927801"/>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6" name="Picture 105">
            <a:extLst>
              <a:ext uri="{FF2B5EF4-FFF2-40B4-BE49-F238E27FC236}">
                <a16:creationId xmlns:a16="http://schemas.microsoft.com/office/drawing/2014/main" id="{08D75C24-CBD6-C272-AE1D-61AC216E08E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03422" y="1400907"/>
            <a:ext cx="725300" cy="725300"/>
          </a:xfrm>
          <a:prstGeom prst="rect">
            <a:avLst/>
          </a:prstGeom>
        </p:spPr>
      </p:pic>
      <p:pic>
        <p:nvPicPr>
          <p:cNvPr id="107" name="Picture 106">
            <a:extLst>
              <a:ext uri="{FF2B5EF4-FFF2-40B4-BE49-F238E27FC236}">
                <a16:creationId xmlns:a16="http://schemas.microsoft.com/office/drawing/2014/main" id="{231843E9-C777-E7BB-9AB5-D64395A6B9E7}"/>
              </a:ext>
            </a:extLst>
          </p:cNvPr>
          <p:cNvPicPr>
            <a:picLocks noChangeAspect="1"/>
          </p:cNvPicPr>
          <p:nvPr/>
        </p:nvPicPr>
        <p:blipFill>
          <a:blip r:embed="rId20"/>
          <a:srcRect/>
          <a:stretch/>
        </p:blipFill>
        <p:spPr>
          <a:xfrm>
            <a:off x="10810423" y="2589603"/>
            <a:ext cx="725300" cy="725300"/>
          </a:xfrm>
          <a:prstGeom prst="rect">
            <a:avLst/>
          </a:prstGeom>
        </p:spPr>
      </p:pic>
      <p:pic>
        <p:nvPicPr>
          <p:cNvPr id="108" name="Picture 107" descr="A close up of a sign&#10;&#10;Description automatically generated">
            <a:extLst>
              <a:ext uri="{FF2B5EF4-FFF2-40B4-BE49-F238E27FC236}">
                <a16:creationId xmlns:a16="http://schemas.microsoft.com/office/drawing/2014/main" id="{9C00DFEE-0C5D-CB23-10B2-AECCD6865A5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23175" y="2589603"/>
            <a:ext cx="725300" cy="725300"/>
          </a:xfrm>
          <a:prstGeom prst="rect">
            <a:avLst/>
          </a:prstGeom>
        </p:spPr>
      </p:pic>
      <p:pic>
        <p:nvPicPr>
          <p:cNvPr id="109" name="Picture 108" descr="A picture containing object&#10;&#10;Description automatically generated">
            <a:extLst>
              <a:ext uri="{FF2B5EF4-FFF2-40B4-BE49-F238E27FC236}">
                <a16:creationId xmlns:a16="http://schemas.microsoft.com/office/drawing/2014/main" id="{4314BBCE-21C2-6B09-5548-8F1616AD29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5137" y="2035701"/>
            <a:ext cx="725300" cy="725300"/>
          </a:xfrm>
          <a:prstGeom prst="rect">
            <a:avLst/>
          </a:prstGeom>
        </p:spPr>
      </p:pic>
      <p:pic>
        <p:nvPicPr>
          <p:cNvPr id="110" name="Picture 109">
            <a:extLst>
              <a:ext uri="{FF2B5EF4-FFF2-40B4-BE49-F238E27FC236}">
                <a16:creationId xmlns:a16="http://schemas.microsoft.com/office/drawing/2014/main" id="{8FF7F854-FF9F-7927-372C-4F5A711429F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035927" y="2589603"/>
            <a:ext cx="725300" cy="725300"/>
          </a:xfrm>
          <a:prstGeom prst="rect">
            <a:avLst/>
          </a:prstGeom>
        </p:spPr>
      </p:pic>
      <p:pic>
        <p:nvPicPr>
          <p:cNvPr id="111" name="Picture 110" descr="A picture containing object&#10;&#10;Description automatically generated">
            <a:extLst>
              <a:ext uri="{FF2B5EF4-FFF2-40B4-BE49-F238E27FC236}">
                <a16:creationId xmlns:a16="http://schemas.microsoft.com/office/drawing/2014/main" id="{353D0119-78B7-AFF7-53D8-3DB97BCD5A4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34918" y="1400907"/>
            <a:ext cx="725300" cy="725300"/>
          </a:xfrm>
          <a:prstGeom prst="rect">
            <a:avLst/>
          </a:prstGeom>
        </p:spPr>
      </p:pic>
      <p:pic>
        <p:nvPicPr>
          <p:cNvPr id="112" name="Picture 4">
            <a:extLst>
              <a:ext uri="{FF2B5EF4-FFF2-40B4-BE49-F238E27FC236}">
                <a16:creationId xmlns:a16="http://schemas.microsoft.com/office/drawing/2014/main" id="{5E45CEB5-E836-142F-30F3-AA36B1CCA24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309179" y="3827495"/>
            <a:ext cx="1613511" cy="1608079"/>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descr="A picture containing object&#10;&#10;Description automatically generated">
            <a:extLst>
              <a:ext uri="{FF2B5EF4-FFF2-40B4-BE49-F238E27FC236}">
                <a16:creationId xmlns:a16="http://schemas.microsoft.com/office/drawing/2014/main" id="{7D8DA470-E9D1-D9D9-A2E2-6DE83773EF0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48679" y="2589603"/>
            <a:ext cx="725300" cy="725300"/>
          </a:xfrm>
          <a:prstGeom prst="rect">
            <a:avLst/>
          </a:prstGeom>
        </p:spPr>
      </p:pic>
      <p:pic>
        <p:nvPicPr>
          <p:cNvPr id="114" name="Picture 113" descr="A blue circle with a white line on it&#10;&#10;AI-generated content may be incorrect.">
            <a:extLst>
              <a:ext uri="{FF2B5EF4-FFF2-40B4-BE49-F238E27FC236}">
                <a16:creationId xmlns:a16="http://schemas.microsoft.com/office/drawing/2014/main" id="{D5BF9CF1-D6E3-0771-EA11-B2D389ECC7A6}"/>
              </a:ext>
            </a:extLst>
          </p:cNvPr>
          <p:cNvPicPr>
            <a:picLocks noChangeAspect="1"/>
          </p:cNvPicPr>
          <p:nvPr/>
        </p:nvPicPr>
        <p:blipFill>
          <a:blip r:embed="rId10"/>
          <a:stretch>
            <a:fillRect/>
          </a:stretch>
        </p:blipFill>
        <p:spPr>
          <a:xfrm>
            <a:off x="7341799" y="2035700"/>
            <a:ext cx="725299" cy="725299"/>
          </a:xfrm>
          <a:prstGeom prst="rect">
            <a:avLst/>
          </a:prstGeom>
        </p:spPr>
      </p:pic>
      <p:pic>
        <p:nvPicPr>
          <p:cNvPr id="115" name="Picture 114" descr="A blue circle with white check mark in it&#10;&#10;AI-generated content may be incorrect.">
            <a:extLst>
              <a:ext uri="{FF2B5EF4-FFF2-40B4-BE49-F238E27FC236}">
                <a16:creationId xmlns:a16="http://schemas.microsoft.com/office/drawing/2014/main" id="{74EB25A9-CF70-19C7-2725-302E8FDFDA2D}"/>
              </a:ext>
            </a:extLst>
          </p:cNvPr>
          <p:cNvPicPr>
            <a:picLocks noChangeAspect="1"/>
          </p:cNvPicPr>
          <p:nvPr/>
        </p:nvPicPr>
        <p:blipFill>
          <a:blip r:embed="rId15"/>
          <a:stretch>
            <a:fillRect/>
          </a:stretch>
        </p:blipFill>
        <p:spPr>
          <a:xfrm>
            <a:off x="10148475" y="2035700"/>
            <a:ext cx="725299" cy="725299"/>
          </a:xfrm>
          <a:prstGeom prst="rect">
            <a:avLst/>
          </a:prstGeom>
        </p:spPr>
      </p:pic>
      <p:sp>
        <p:nvSpPr>
          <p:cNvPr id="116" name="Freeform 115">
            <a:extLst>
              <a:ext uri="{FF2B5EF4-FFF2-40B4-BE49-F238E27FC236}">
                <a16:creationId xmlns:a16="http://schemas.microsoft.com/office/drawing/2014/main" id="{171D69AF-7F66-1B0C-B338-BC4F12DB4B5A}"/>
              </a:ext>
            </a:extLst>
          </p:cNvPr>
          <p:cNvSpPr/>
          <p:nvPr/>
        </p:nvSpPr>
        <p:spPr>
          <a:xfrm rot="21045447">
            <a:off x="8483488" y="3204791"/>
            <a:ext cx="264363" cy="825092"/>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latin typeface="TT Commons" panose="02000506040000020004" pitchFamily="2" charset="77"/>
            </a:endParaRPr>
          </a:p>
        </p:txBody>
      </p:sp>
    </p:spTree>
    <p:extLst>
      <p:ext uri="{BB962C8B-B14F-4D97-AF65-F5344CB8AC3E}">
        <p14:creationId xmlns:p14="http://schemas.microsoft.com/office/powerpoint/2010/main" val="29750739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88AED-F804-CAFA-DE4E-130244955B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11ABE2-8012-51F3-85AC-EC673DB6CE32}"/>
              </a:ext>
            </a:extLst>
          </p:cNvPr>
          <p:cNvSpPr>
            <a:spLocks noGrp="1"/>
          </p:cNvSpPr>
          <p:nvPr>
            <p:ph type="title"/>
          </p:nvPr>
        </p:nvSpPr>
        <p:spPr>
          <a:xfrm>
            <a:off x="365125" y="254577"/>
            <a:ext cx="11461751" cy="845328"/>
          </a:xfrm>
        </p:spPr>
        <p:txBody>
          <a:bodyPr/>
          <a:lstStyle/>
          <a:p>
            <a:r>
              <a:rPr lang="en-US" sz="5333"/>
              <a:t>Connected Execution Platform</a:t>
            </a:r>
          </a:p>
        </p:txBody>
      </p:sp>
      <p:sp>
        <p:nvSpPr>
          <p:cNvPr id="183" name="Freeform 182">
            <a:extLst>
              <a:ext uri="{FF2B5EF4-FFF2-40B4-BE49-F238E27FC236}">
                <a16:creationId xmlns:a16="http://schemas.microsoft.com/office/drawing/2014/main" id="{8E809F55-0C2D-751C-B25F-A8413E0A6784}"/>
              </a:ext>
            </a:extLst>
          </p:cNvPr>
          <p:cNvSpPr/>
          <p:nvPr/>
        </p:nvSpPr>
        <p:spPr>
          <a:xfrm rot="20130394">
            <a:off x="5019797" y="2122093"/>
            <a:ext cx="464371" cy="144932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4" name="Freeform 183">
            <a:extLst>
              <a:ext uri="{FF2B5EF4-FFF2-40B4-BE49-F238E27FC236}">
                <a16:creationId xmlns:a16="http://schemas.microsoft.com/office/drawing/2014/main" id="{A2102870-83D7-1A67-EAB4-A9C59BE4D347}"/>
              </a:ext>
            </a:extLst>
          </p:cNvPr>
          <p:cNvSpPr/>
          <p:nvPr/>
        </p:nvSpPr>
        <p:spPr>
          <a:xfrm rot="2502535">
            <a:off x="4265348" y="2394114"/>
            <a:ext cx="435483" cy="45158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5" name="Freeform 184">
            <a:extLst>
              <a:ext uri="{FF2B5EF4-FFF2-40B4-BE49-F238E27FC236}">
                <a16:creationId xmlns:a16="http://schemas.microsoft.com/office/drawing/2014/main" id="{1DDD9B88-A44D-AA01-D536-372A8FDF6DD3}"/>
              </a:ext>
            </a:extLst>
          </p:cNvPr>
          <p:cNvSpPr/>
          <p:nvPr/>
        </p:nvSpPr>
        <p:spPr>
          <a:xfrm rot="18146750">
            <a:off x="3365839" y="2893184"/>
            <a:ext cx="502447" cy="64178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6" name="Freeform 185">
            <a:extLst>
              <a:ext uri="{FF2B5EF4-FFF2-40B4-BE49-F238E27FC236}">
                <a16:creationId xmlns:a16="http://schemas.microsoft.com/office/drawing/2014/main" id="{C4070347-4CD5-3192-C47D-30D6D23D908B}"/>
              </a:ext>
            </a:extLst>
          </p:cNvPr>
          <p:cNvSpPr/>
          <p:nvPr/>
        </p:nvSpPr>
        <p:spPr>
          <a:xfrm rot="3863213">
            <a:off x="2093459" y="3357530"/>
            <a:ext cx="553464" cy="64884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7" name="Freeform 186">
            <a:extLst>
              <a:ext uri="{FF2B5EF4-FFF2-40B4-BE49-F238E27FC236}">
                <a16:creationId xmlns:a16="http://schemas.microsoft.com/office/drawing/2014/main" id="{4E383E2C-867D-1B0B-28EE-7BB4475C2893}"/>
              </a:ext>
            </a:extLst>
          </p:cNvPr>
          <p:cNvSpPr/>
          <p:nvPr/>
        </p:nvSpPr>
        <p:spPr>
          <a:xfrm rot="2227833">
            <a:off x="6764706" y="3697427"/>
            <a:ext cx="549983" cy="93996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8" name="Freeform 187">
            <a:extLst>
              <a:ext uri="{FF2B5EF4-FFF2-40B4-BE49-F238E27FC236}">
                <a16:creationId xmlns:a16="http://schemas.microsoft.com/office/drawing/2014/main" id="{A6242FA4-6666-6E9F-FB87-5F8D5AFF3EAF}"/>
              </a:ext>
            </a:extLst>
          </p:cNvPr>
          <p:cNvSpPr/>
          <p:nvPr/>
        </p:nvSpPr>
        <p:spPr>
          <a:xfrm>
            <a:off x="2869238" y="3517727"/>
            <a:ext cx="454181" cy="605912"/>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9" name="Freeform 188">
            <a:extLst>
              <a:ext uri="{FF2B5EF4-FFF2-40B4-BE49-F238E27FC236}">
                <a16:creationId xmlns:a16="http://schemas.microsoft.com/office/drawing/2014/main" id="{4CED12C6-4705-B2E9-3D39-2A4792F41C8D}"/>
              </a:ext>
            </a:extLst>
          </p:cNvPr>
          <p:cNvSpPr/>
          <p:nvPr/>
        </p:nvSpPr>
        <p:spPr>
          <a:xfrm rot="3799550">
            <a:off x="3642766" y="3498023"/>
            <a:ext cx="495140" cy="74812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90" name="Freeform 189">
            <a:extLst>
              <a:ext uri="{FF2B5EF4-FFF2-40B4-BE49-F238E27FC236}">
                <a16:creationId xmlns:a16="http://schemas.microsoft.com/office/drawing/2014/main" id="{86A53A95-917E-7C8A-9681-5044E682E069}"/>
              </a:ext>
            </a:extLst>
          </p:cNvPr>
          <p:cNvSpPr/>
          <p:nvPr/>
        </p:nvSpPr>
        <p:spPr>
          <a:xfrm rot="7522462">
            <a:off x="3867858" y="4325185"/>
            <a:ext cx="495140" cy="64328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91" name="Freeform 190">
            <a:extLst>
              <a:ext uri="{FF2B5EF4-FFF2-40B4-BE49-F238E27FC236}">
                <a16:creationId xmlns:a16="http://schemas.microsoft.com/office/drawing/2014/main" id="{FEF7B590-9006-5C34-F250-2346919010C8}"/>
              </a:ext>
            </a:extLst>
          </p:cNvPr>
          <p:cNvSpPr/>
          <p:nvPr/>
        </p:nvSpPr>
        <p:spPr>
          <a:xfrm rot="3749002">
            <a:off x="4153661" y="5027403"/>
            <a:ext cx="483104" cy="65938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92" name="Freeform 191">
            <a:extLst>
              <a:ext uri="{FF2B5EF4-FFF2-40B4-BE49-F238E27FC236}">
                <a16:creationId xmlns:a16="http://schemas.microsoft.com/office/drawing/2014/main" id="{6BE10095-6651-9138-B9A3-3BCED68C03CA}"/>
              </a:ext>
            </a:extLst>
          </p:cNvPr>
          <p:cNvSpPr/>
          <p:nvPr/>
        </p:nvSpPr>
        <p:spPr>
          <a:xfrm rot="3749002">
            <a:off x="5088841" y="3884785"/>
            <a:ext cx="495140" cy="78110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93" name="Freeform 192">
            <a:extLst>
              <a:ext uri="{FF2B5EF4-FFF2-40B4-BE49-F238E27FC236}">
                <a16:creationId xmlns:a16="http://schemas.microsoft.com/office/drawing/2014/main" id="{66AF3500-856F-0255-4EB1-DDA92F0F09F4}"/>
              </a:ext>
            </a:extLst>
          </p:cNvPr>
          <p:cNvSpPr/>
          <p:nvPr/>
        </p:nvSpPr>
        <p:spPr>
          <a:xfrm rot="7842889">
            <a:off x="4829862" y="3159279"/>
            <a:ext cx="495140" cy="73726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94" name="Freeform 193">
            <a:extLst>
              <a:ext uri="{FF2B5EF4-FFF2-40B4-BE49-F238E27FC236}">
                <a16:creationId xmlns:a16="http://schemas.microsoft.com/office/drawing/2014/main" id="{2B007D7C-814C-111D-0843-57DF24E412F5}"/>
              </a:ext>
            </a:extLst>
          </p:cNvPr>
          <p:cNvSpPr/>
          <p:nvPr/>
        </p:nvSpPr>
        <p:spPr>
          <a:xfrm rot="6772742">
            <a:off x="5528902" y="4293017"/>
            <a:ext cx="549983" cy="1223432"/>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06288 w 396235"/>
              <a:gd name="csY5" fmla="*/ 271274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06288 w 396235"/>
              <a:gd name="csY5" fmla="*/ 271274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99322" y="315563"/>
                  <a:pt x="106288" y="271274"/>
                </a:cubicBezTo>
                <a:cubicBezTo>
                  <a:pt x="161306" y="175313"/>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95" name="Freeform 194">
            <a:extLst>
              <a:ext uri="{FF2B5EF4-FFF2-40B4-BE49-F238E27FC236}">
                <a16:creationId xmlns:a16="http://schemas.microsoft.com/office/drawing/2014/main" id="{3B919793-032C-0073-6B74-37678E1BB6FD}"/>
              </a:ext>
            </a:extLst>
          </p:cNvPr>
          <p:cNvSpPr/>
          <p:nvPr/>
        </p:nvSpPr>
        <p:spPr>
          <a:xfrm rot="9313239">
            <a:off x="7070090" y="5209076"/>
            <a:ext cx="522708" cy="46909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96" name="Freeform 195">
            <a:extLst>
              <a:ext uri="{FF2B5EF4-FFF2-40B4-BE49-F238E27FC236}">
                <a16:creationId xmlns:a16="http://schemas.microsoft.com/office/drawing/2014/main" id="{2DD78124-AE98-A097-C1BB-893C4F616BBC}"/>
              </a:ext>
            </a:extLst>
          </p:cNvPr>
          <p:cNvSpPr/>
          <p:nvPr/>
        </p:nvSpPr>
        <p:spPr>
          <a:xfrm rot="21028927">
            <a:off x="6034417" y="3897634"/>
            <a:ext cx="563707" cy="82011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56811"/>
              <a:gd name="csX1" fmla="*/ 149648 w 396235"/>
              <a:gd name="csY1" fmla="*/ 0 h 556811"/>
              <a:gd name="csX2" fmla="*/ 225303 w 396235"/>
              <a:gd name="csY2" fmla="*/ 241678 h 556811"/>
              <a:gd name="csX3" fmla="*/ 396235 w 396235"/>
              <a:gd name="csY3" fmla="*/ 484573 h 556811"/>
              <a:gd name="csX4" fmla="*/ 226175 w 396235"/>
              <a:gd name="csY4" fmla="*/ 556811 h 556811"/>
              <a:gd name="csX5" fmla="*/ 117353 w 396235"/>
              <a:gd name="csY5" fmla="*/ 295653 h 556811"/>
              <a:gd name="csX6" fmla="*/ 0 w 396235"/>
              <a:gd name="csY6" fmla="*/ 30397 h 556811"/>
              <a:gd name="csX0" fmla="*/ 0 w 396235"/>
              <a:gd name="csY0" fmla="*/ 30397 h 556811"/>
              <a:gd name="csX1" fmla="*/ 149648 w 396235"/>
              <a:gd name="csY1" fmla="*/ 0 h 556811"/>
              <a:gd name="csX2" fmla="*/ 225303 w 396235"/>
              <a:gd name="csY2" fmla="*/ 241678 h 556811"/>
              <a:gd name="csX3" fmla="*/ 396235 w 396235"/>
              <a:gd name="csY3" fmla="*/ 484573 h 556811"/>
              <a:gd name="csX4" fmla="*/ 226175 w 396235"/>
              <a:gd name="csY4" fmla="*/ 556811 h 556811"/>
              <a:gd name="csX5" fmla="*/ 117353 w 396235"/>
              <a:gd name="csY5" fmla="*/ 295653 h 556811"/>
              <a:gd name="csX6" fmla="*/ 0 w 396235"/>
              <a:gd name="csY6" fmla="*/ 30397 h 556811"/>
              <a:gd name="csX0" fmla="*/ 0 w 406123"/>
              <a:gd name="csY0" fmla="*/ 71756 h 556811"/>
              <a:gd name="csX1" fmla="*/ 159536 w 406123"/>
              <a:gd name="csY1" fmla="*/ 0 h 556811"/>
              <a:gd name="csX2" fmla="*/ 235191 w 406123"/>
              <a:gd name="csY2" fmla="*/ 241678 h 556811"/>
              <a:gd name="csX3" fmla="*/ 406123 w 406123"/>
              <a:gd name="csY3" fmla="*/ 484573 h 556811"/>
              <a:gd name="csX4" fmla="*/ 236063 w 406123"/>
              <a:gd name="csY4" fmla="*/ 556811 h 556811"/>
              <a:gd name="csX5" fmla="*/ 127241 w 406123"/>
              <a:gd name="csY5" fmla="*/ 295653 h 556811"/>
              <a:gd name="csX6" fmla="*/ 0 w 406123"/>
              <a:gd name="csY6" fmla="*/ 71756 h 556811"/>
              <a:gd name="csX0" fmla="*/ 0 w 406123"/>
              <a:gd name="csY0" fmla="*/ 71756 h 556811"/>
              <a:gd name="csX1" fmla="*/ 159536 w 406123"/>
              <a:gd name="csY1" fmla="*/ 0 h 556811"/>
              <a:gd name="csX2" fmla="*/ 235191 w 406123"/>
              <a:gd name="csY2" fmla="*/ 241678 h 556811"/>
              <a:gd name="csX3" fmla="*/ 406123 w 406123"/>
              <a:gd name="csY3" fmla="*/ 484573 h 556811"/>
              <a:gd name="csX4" fmla="*/ 236063 w 406123"/>
              <a:gd name="csY4" fmla="*/ 556811 h 556811"/>
              <a:gd name="csX5" fmla="*/ 127241 w 406123"/>
              <a:gd name="csY5" fmla="*/ 295653 h 556811"/>
              <a:gd name="csX6" fmla="*/ 0 w 406123"/>
              <a:gd name="csY6" fmla="*/ 71756 h 55681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06123" h="556811">
                <a:moveTo>
                  <a:pt x="0" y="71756"/>
                </a:moveTo>
                <a:cubicBezTo>
                  <a:pt x="98688" y="76489"/>
                  <a:pt x="106357" y="23919"/>
                  <a:pt x="159536" y="0"/>
                </a:cubicBezTo>
                <a:cubicBezTo>
                  <a:pt x="158316" y="77358"/>
                  <a:pt x="85634" y="184291"/>
                  <a:pt x="235191" y="241678"/>
                </a:cubicBezTo>
                <a:cubicBezTo>
                  <a:pt x="218273" y="305083"/>
                  <a:pt x="263070" y="494546"/>
                  <a:pt x="406123" y="484573"/>
                </a:cubicBezTo>
                <a:cubicBezTo>
                  <a:pt x="343708" y="493440"/>
                  <a:pt x="289090" y="501155"/>
                  <a:pt x="236063" y="556811"/>
                </a:cubicBezTo>
                <a:cubicBezTo>
                  <a:pt x="309424" y="416840"/>
                  <a:pt x="197881" y="318336"/>
                  <a:pt x="127241" y="295653"/>
                </a:cubicBezTo>
                <a:cubicBezTo>
                  <a:pt x="182259" y="199692"/>
                  <a:pt x="76868" y="151096"/>
                  <a:pt x="0" y="71756"/>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97" name="Freeform 196">
            <a:extLst>
              <a:ext uri="{FF2B5EF4-FFF2-40B4-BE49-F238E27FC236}">
                <a16:creationId xmlns:a16="http://schemas.microsoft.com/office/drawing/2014/main" id="{3AABA0A8-D785-C60D-AEF3-D5A1EA1919CB}"/>
              </a:ext>
            </a:extLst>
          </p:cNvPr>
          <p:cNvSpPr/>
          <p:nvPr/>
        </p:nvSpPr>
        <p:spPr>
          <a:xfrm rot="9256127">
            <a:off x="7566947" y="3618979"/>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98" name="Freeform 197">
            <a:extLst>
              <a:ext uri="{FF2B5EF4-FFF2-40B4-BE49-F238E27FC236}">
                <a16:creationId xmlns:a16="http://schemas.microsoft.com/office/drawing/2014/main" id="{C9D13D36-DED4-1A09-1207-63D6018C4E3C}"/>
              </a:ext>
            </a:extLst>
          </p:cNvPr>
          <p:cNvSpPr/>
          <p:nvPr/>
        </p:nvSpPr>
        <p:spPr>
          <a:xfrm rot="14663104">
            <a:off x="5976318" y="5212949"/>
            <a:ext cx="549983" cy="51967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36963 w 396235"/>
              <a:gd name="csY5" fmla="*/ 315775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207603" y="338458"/>
                  <a:pt x="136963" y="315775"/>
                </a:cubicBezTo>
                <a:cubicBezTo>
                  <a:pt x="191981" y="219814"/>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99" name="Freeform 198">
            <a:extLst>
              <a:ext uri="{FF2B5EF4-FFF2-40B4-BE49-F238E27FC236}">
                <a16:creationId xmlns:a16="http://schemas.microsoft.com/office/drawing/2014/main" id="{0F521436-E78D-0336-8EBE-015AC88ECE98}"/>
              </a:ext>
            </a:extLst>
          </p:cNvPr>
          <p:cNvSpPr/>
          <p:nvPr/>
        </p:nvSpPr>
        <p:spPr>
          <a:xfrm rot="5756388">
            <a:off x="7766943" y="2936875"/>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00" name="Freeform 199">
            <a:extLst>
              <a:ext uri="{FF2B5EF4-FFF2-40B4-BE49-F238E27FC236}">
                <a16:creationId xmlns:a16="http://schemas.microsoft.com/office/drawing/2014/main" id="{359E8AC4-E7A6-EF68-69EE-CD07DF7B0177}"/>
              </a:ext>
            </a:extLst>
          </p:cNvPr>
          <p:cNvSpPr/>
          <p:nvPr/>
        </p:nvSpPr>
        <p:spPr>
          <a:xfrm rot="5756388">
            <a:off x="6658459" y="1781649"/>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01" name="Freeform 200">
            <a:extLst>
              <a:ext uri="{FF2B5EF4-FFF2-40B4-BE49-F238E27FC236}">
                <a16:creationId xmlns:a16="http://schemas.microsoft.com/office/drawing/2014/main" id="{E858020F-8CBB-2787-B16B-817411E6CDE1}"/>
              </a:ext>
            </a:extLst>
          </p:cNvPr>
          <p:cNvSpPr/>
          <p:nvPr/>
        </p:nvSpPr>
        <p:spPr>
          <a:xfrm rot="2553765">
            <a:off x="7266123" y="2335890"/>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02" name="Freeform 201">
            <a:extLst>
              <a:ext uri="{FF2B5EF4-FFF2-40B4-BE49-F238E27FC236}">
                <a16:creationId xmlns:a16="http://schemas.microsoft.com/office/drawing/2014/main" id="{4F7A05C1-F523-A2CF-6615-ADE23ECD038E}"/>
              </a:ext>
            </a:extLst>
          </p:cNvPr>
          <p:cNvSpPr/>
          <p:nvPr/>
        </p:nvSpPr>
        <p:spPr>
          <a:xfrm rot="3032600">
            <a:off x="8001479" y="4801613"/>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03" name="Freeform 202">
            <a:extLst>
              <a:ext uri="{FF2B5EF4-FFF2-40B4-BE49-F238E27FC236}">
                <a16:creationId xmlns:a16="http://schemas.microsoft.com/office/drawing/2014/main" id="{1E878030-E2DF-E91A-8BC0-91AC89501986}"/>
              </a:ext>
            </a:extLst>
          </p:cNvPr>
          <p:cNvSpPr/>
          <p:nvPr/>
        </p:nvSpPr>
        <p:spPr>
          <a:xfrm rot="6035246">
            <a:off x="9044214" y="3745400"/>
            <a:ext cx="549983" cy="995397"/>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04" name="Freeform 203">
            <a:extLst>
              <a:ext uri="{FF2B5EF4-FFF2-40B4-BE49-F238E27FC236}">
                <a16:creationId xmlns:a16="http://schemas.microsoft.com/office/drawing/2014/main" id="{B9A13D61-6F5F-15EA-6E12-0EE0F7476F72}"/>
              </a:ext>
            </a:extLst>
          </p:cNvPr>
          <p:cNvSpPr/>
          <p:nvPr/>
        </p:nvSpPr>
        <p:spPr>
          <a:xfrm rot="1425566">
            <a:off x="9921791" y="2979397"/>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05" name="Freeform 204">
            <a:extLst>
              <a:ext uri="{FF2B5EF4-FFF2-40B4-BE49-F238E27FC236}">
                <a16:creationId xmlns:a16="http://schemas.microsoft.com/office/drawing/2014/main" id="{E07728F2-DE5E-E3E9-F370-909EB40A4BB2}"/>
              </a:ext>
            </a:extLst>
          </p:cNvPr>
          <p:cNvSpPr/>
          <p:nvPr/>
        </p:nvSpPr>
        <p:spPr>
          <a:xfrm rot="6039179">
            <a:off x="6298335" y="3230490"/>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06" name="Freeform 205">
            <a:extLst>
              <a:ext uri="{FF2B5EF4-FFF2-40B4-BE49-F238E27FC236}">
                <a16:creationId xmlns:a16="http://schemas.microsoft.com/office/drawing/2014/main" id="{0FDDF91C-7D48-9E3E-E2C1-B52DF60B3A74}"/>
              </a:ext>
            </a:extLst>
          </p:cNvPr>
          <p:cNvSpPr/>
          <p:nvPr/>
        </p:nvSpPr>
        <p:spPr>
          <a:xfrm rot="9410302">
            <a:off x="6423481" y="2537963"/>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07" name="Freeform 206">
            <a:extLst>
              <a:ext uri="{FF2B5EF4-FFF2-40B4-BE49-F238E27FC236}">
                <a16:creationId xmlns:a16="http://schemas.microsoft.com/office/drawing/2014/main" id="{B9141FBC-4AAD-9C83-CBA5-54DFD2DCB9AE}"/>
              </a:ext>
            </a:extLst>
          </p:cNvPr>
          <p:cNvSpPr/>
          <p:nvPr/>
        </p:nvSpPr>
        <p:spPr>
          <a:xfrm rot="190351">
            <a:off x="3374371" y="4881837"/>
            <a:ext cx="495140" cy="70677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08" name="Oval 207">
            <a:extLst>
              <a:ext uri="{FF2B5EF4-FFF2-40B4-BE49-F238E27FC236}">
                <a16:creationId xmlns:a16="http://schemas.microsoft.com/office/drawing/2014/main" id="{D79F9B7C-7CFD-87FA-9C7F-02A18A6CCBD7}"/>
              </a:ext>
            </a:extLst>
          </p:cNvPr>
          <p:cNvSpPr/>
          <p:nvPr/>
        </p:nvSpPr>
        <p:spPr>
          <a:xfrm>
            <a:off x="8287665" y="2572905"/>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pic>
        <p:nvPicPr>
          <p:cNvPr id="210" name="Picture 209" descr="A black and pink logo&#10;&#10;AI-generated content may be incorrect.">
            <a:extLst>
              <a:ext uri="{FF2B5EF4-FFF2-40B4-BE49-F238E27FC236}">
                <a16:creationId xmlns:a16="http://schemas.microsoft.com/office/drawing/2014/main" id="{EF5C1CD1-4B27-0436-86D2-453EF1E809DD}"/>
              </a:ext>
            </a:extLst>
          </p:cNvPr>
          <p:cNvPicPr>
            <a:picLocks noChangeAspect="1"/>
          </p:cNvPicPr>
          <p:nvPr/>
        </p:nvPicPr>
        <p:blipFill>
          <a:blip r:embed="rId3"/>
          <a:stretch>
            <a:fillRect/>
          </a:stretch>
        </p:blipFill>
        <p:spPr>
          <a:xfrm>
            <a:off x="4072000" y="3352832"/>
            <a:ext cx="554795" cy="112307"/>
          </a:xfrm>
          <a:prstGeom prst="rect">
            <a:avLst/>
          </a:prstGeom>
        </p:spPr>
      </p:pic>
      <p:sp>
        <p:nvSpPr>
          <p:cNvPr id="211" name="TextBox 210">
            <a:extLst>
              <a:ext uri="{FF2B5EF4-FFF2-40B4-BE49-F238E27FC236}">
                <a16:creationId xmlns:a16="http://schemas.microsoft.com/office/drawing/2014/main" id="{E91EB07B-0C50-A108-1F25-B1A80964F6A1}"/>
              </a:ext>
            </a:extLst>
          </p:cNvPr>
          <p:cNvSpPr txBox="1"/>
          <p:nvPr/>
        </p:nvSpPr>
        <p:spPr>
          <a:xfrm>
            <a:off x="8330478" y="2921749"/>
            <a:ext cx="862737" cy="235898"/>
          </a:xfrm>
          <a:prstGeom prst="rect">
            <a:avLst/>
          </a:prstGeom>
          <a:noFill/>
        </p:spPr>
        <p:txBody>
          <a:bodyPr wrap="none" rtlCol="0">
            <a:spAutoFit/>
          </a:bodyPr>
          <a:lstStyle/>
          <a:p>
            <a:pPr algn="ctr" defTabSz="1219170" eaLnBrk="0" fontAlgn="base" hangingPunct="0">
              <a:spcBef>
                <a:spcPct val="0"/>
              </a:spcBef>
              <a:spcAft>
                <a:spcPct val="0"/>
              </a:spcAft>
            </a:pPr>
            <a:r>
              <a:rPr lang="en-US" sz="933" b="1">
                <a:solidFill>
                  <a:srgbClr val="FFFFFF"/>
                </a:solidFill>
                <a:latin typeface="TT Commons Pro" panose="020B0103030102020204" pitchFamily="34" charset="77"/>
                <a:ea typeface="ＭＳ Ｐゴシック" charset="-128"/>
              </a:rPr>
              <a:t>Palletization</a:t>
            </a:r>
            <a:endParaRPr lang="en-US" sz="1067" b="1">
              <a:solidFill>
                <a:srgbClr val="FFFFFF"/>
              </a:solidFill>
              <a:latin typeface="TT Commons Pro" panose="020B0103030102020204" pitchFamily="34" charset="77"/>
              <a:ea typeface="ＭＳ Ｐゴシック" charset="-128"/>
            </a:endParaRPr>
          </a:p>
        </p:txBody>
      </p:sp>
      <p:sp>
        <p:nvSpPr>
          <p:cNvPr id="212" name="Freeform 211">
            <a:extLst>
              <a:ext uri="{FF2B5EF4-FFF2-40B4-BE49-F238E27FC236}">
                <a16:creationId xmlns:a16="http://schemas.microsoft.com/office/drawing/2014/main" id="{318AB7B3-5D85-541B-6471-9EF6DEEE653A}"/>
              </a:ext>
            </a:extLst>
          </p:cNvPr>
          <p:cNvSpPr/>
          <p:nvPr/>
        </p:nvSpPr>
        <p:spPr>
          <a:xfrm rot="2293253">
            <a:off x="5726227" y="2640970"/>
            <a:ext cx="495140" cy="78110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13" name="Oval 212">
            <a:extLst>
              <a:ext uri="{FF2B5EF4-FFF2-40B4-BE49-F238E27FC236}">
                <a16:creationId xmlns:a16="http://schemas.microsoft.com/office/drawing/2014/main" id="{F7CFF079-38F8-67ED-23B3-74E86CDB3EE9}"/>
              </a:ext>
            </a:extLst>
          </p:cNvPr>
          <p:cNvSpPr/>
          <p:nvPr/>
        </p:nvSpPr>
        <p:spPr>
          <a:xfrm>
            <a:off x="4214413" y="1515228"/>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14" name="TextBox 213">
            <a:extLst>
              <a:ext uri="{FF2B5EF4-FFF2-40B4-BE49-F238E27FC236}">
                <a16:creationId xmlns:a16="http://schemas.microsoft.com/office/drawing/2014/main" id="{44C4047C-209B-4A28-C796-BC685442FED5}"/>
              </a:ext>
            </a:extLst>
          </p:cNvPr>
          <p:cNvSpPr txBox="1"/>
          <p:nvPr/>
        </p:nvSpPr>
        <p:spPr>
          <a:xfrm>
            <a:off x="4329732" y="1837105"/>
            <a:ext cx="667170"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Comply</a:t>
            </a:r>
          </a:p>
        </p:txBody>
      </p:sp>
      <p:sp>
        <p:nvSpPr>
          <p:cNvPr id="215" name="Oval 214">
            <a:extLst>
              <a:ext uri="{FF2B5EF4-FFF2-40B4-BE49-F238E27FC236}">
                <a16:creationId xmlns:a16="http://schemas.microsoft.com/office/drawing/2014/main" id="{81EB15A1-5031-D5C8-7F02-BAFE5CEEB8D3}"/>
              </a:ext>
            </a:extLst>
          </p:cNvPr>
          <p:cNvSpPr/>
          <p:nvPr/>
        </p:nvSpPr>
        <p:spPr>
          <a:xfrm>
            <a:off x="6345173" y="4519061"/>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16" name="TextBox 215">
            <a:extLst>
              <a:ext uri="{FF2B5EF4-FFF2-40B4-BE49-F238E27FC236}">
                <a16:creationId xmlns:a16="http://schemas.microsoft.com/office/drawing/2014/main" id="{9B493D41-1E02-6D61-4B31-F6E416642FC8}"/>
              </a:ext>
            </a:extLst>
          </p:cNvPr>
          <p:cNvSpPr txBox="1"/>
          <p:nvPr/>
        </p:nvSpPr>
        <p:spPr>
          <a:xfrm>
            <a:off x="6512179" y="4756795"/>
            <a:ext cx="564578" cy="420756"/>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rt</a:t>
            </a:r>
          </a:p>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gent</a:t>
            </a:r>
          </a:p>
        </p:txBody>
      </p:sp>
      <p:sp>
        <p:nvSpPr>
          <p:cNvPr id="217" name="Oval 216">
            <a:extLst>
              <a:ext uri="{FF2B5EF4-FFF2-40B4-BE49-F238E27FC236}">
                <a16:creationId xmlns:a16="http://schemas.microsoft.com/office/drawing/2014/main" id="{7EAAF9FC-5260-806A-8154-7725CB21AC04}"/>
              </a:ext>
            </a:extLst>
          </p:cNvPr>
          <p:cNvSpPr/>
          <p:nvPr/>
        </p:nvSpPr>
        <p:spPr>
          <a:xfrm>
            <a:off x="3452776" y="5472021"/>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18" name="TextBox 217">
            <a:extLst>
              <a:ext uri="{FF2B5EF4-FFF2-40B4-BE49-F238E27FC236}">
                <a16:creationId xmlns:a16="http://schemas.microsoft.com/office/drawing/2014/main" id="{640C7511-90B8-EAD4-574D-78899F07DD49}"/>
              </a:ext>
            </a:extLst>
          </p:cNvPr>
          <p:cNvSpPr txBox="1"/>
          <p:nvPr/>
        </p:nvSpPr>
        <p:spPr>
          <a:xfrm>
            <a:off x="3596972" y="5792735"/>
            <a:ext cx="636714"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Extract</a:t>
            </a:r>
          </a:p>
        </p:txBody>
      </p:sp>
      <p:sp>
        <p:nvSpPr>
          <p:cNvPr id="219" name="Oval 218">
            <a:extLst>
              <a:ext uri="{FF2B5EF4-FFF2-40B4-BE49-F238E27FC236}">
                <a16:creationId xmlns:a16="http://schemas.microsoft.com/office/drawing/2014/main" id="{17B4840B-B259-06A3-695E-993D78623F1B}"/>
              </a:ext>
            </a:extLst>
          </p:cNvPr>
          <p:cNvSpPr/>
          <p:nvPr/>
        </p:nvSpPr>
        <p:spPr>
          <a:xfrm>
            <a:off x="4384043" y="4309052"/>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20" name="TextBox 219">
            <a:extLst>
              <a:ext uri="{FF2B5EF4-FFF2-40B4-BE49-F238E27FC236}">
                <a16:creationId xmlns:a16="http://schemas.microsoft.com/office/drawing/2014/main" id="{FBC6AFBB-A7F6-1E3D-47D1-526104DE6D5A}"/>
              </a:ext>
            </a:extLst>
          </p:cNvPr>
          <p:cNvSpPr txBox="1"/>
          <p:nvPr/>
        </p:nvSpPr>
        <p:spPr>
          <a:xfrm>
            <a:off x="4474536" y="4629765"/>
            <a:ext cx="744114"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Interpret</a:t>
            </a:r>
          </a:p>
        </p:txBody>
      </p:sp>
      <p:sp>
        <p:nvSpPr>
          <p:cNvPr id="221" name="Oval 220">
            <a:extLst>
              <a:ext uri="{FF2B5EF4-FFF2-40B4-BE49-F238E27FC236}">
                <a16:creationId xmlns:a16="http://schemas.microsoft.com/office/drawing/2014/main" id="{7525255C-8A01-7D7A-B6D3-3FFEA5C50C83}"/>
              </a:ext>
            </a:extLst>
          </p:cNvPr>
          <p:cNvSpPr/>
          <p:nvPr/>
        </p:nvSpPr>
        <p:spPr>
          <a:xfrm>
            <a:off x="2953817" y="401484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22" name="TextBox 221">
            <a:extLst>
              <a:ext uri="{FF2B5EF4-FFF2-40B4-BE49-F238E27FC236}">
                <a16:creationId xmlns:a16="http://schemas.microsoft.com/office/drawing/2014/main" id="{2F0F697D-3D90-BE1D-5C82-E9A1AECE60EF}"/>
              </a:ext>
            </a:extLst>
          </p:cNvPr>
          <p:cNvSpPr txBox="1"/>
          <p:nvPr/>
        </p:nvSpPr>
        <p:spPr>
          <a:xfrm>
            <a:off x="3050287" y="4277205"/>
            <a:ext cx="705642"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Content</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Library</a:t>
            </a:r>
          </a:p>
        </p:txBody>
      </p:sp>
      <p:sp>
        <p:nvSpPr>
          <p:cNvPr id="224" name="Oval 223">
            <a:extLst>
              <a:ext uri="{FF2B5EF4-FFF2-40B4-BE49-F238E27FC236}">
                <a16:creationId xmlns:a16="http://schemas.microsoft.com/office/drawing/2014/main" id="{884A8D8B-ABC0-7CD5-A984-368FEC74538A}"/>
              </a:ext>
            </a:extLst>
          </p:cNvPr>
          <p:cNvSpPr/>
          <p:nvPr/>
        </p:nvSpPr>
        <p:spPr>
          <a:xfrm>
            <a:off x="7490363" y="5340560"/>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25" name="TextBox 224">
            <a:extLst>
              <a:ext uri="{FF2B5EF4-FFF2-40B4-BE49-F238E27FC236}">
                <a16:creationId xmlns:a16="http://schemas.microsoft.com/office/drawing/2014/main" id="{48AC6482-6D20-3D7E-F99E-6350E138EBB4}"/>
              </a:ext>
            </a:extLst>
          </p:cNvPr>
          <p:cNvSpPr txBox="1"/>
          <p:nvPr/>
        </p:nvSpPr>
        <p:spPr>
          <a:xfrm>
            <a:off x="7547990" y="5680045"/>
            <a:ext cx="809838"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pprovals</a:t>
            </a:r>
          </a:p>
        </p:txBody>
      </p:sp>
      <p:sp>
        <p:nvSpPr>
          <p:cNvPr id="227" name="Oval 226">
            <a:extLst>
              <a:ext uri="{FF2B5EF4-FFF2-40B4-BE49-F238E27FC236}">
                <a16:creationId xmlns:a16="http://schemas.microsoft.com/office/drawing/2014/main" id="{C068FB67-7519-5DB6-366A-1E45CE1FBF0D}"/>
              </a:ext>
            </a:extLst>
          </p:cNvPr>
          <p:cNvSpPr/>
          <p:nvPr/>
        </p:nvSpPr>
        <p:spPr>
          <a:xfrm>
            <a:off x="6855772" y="2943031"/>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28" name="TextBox 227">
            <a:extLst>
              <a:ext uri="{FF2B5EF4-FFF2-40B4-BE49-F238E27FC236}">
                <a16:creationId xmlns:a16="http://schemas.microsoft.com/office/drawing/2014/main" id="{496B5DE2-CE10-D00E-33BD-DEBA88A9C5AF}"/>
              </a:ext>
            </a:extLst>
          </p:cNvPr>
          <p:cNvSpPr txBox="1"/>
          <p:nvPr/>
        </p:nvSpPr>
        <p:spPr>
          <a:xfrm>
            <a:off x="6995524" y="3276721"/>
            <a:ext cx="619080"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Viewer</a:t>
            </a:r>
          </a:p>
        </p:txBody>
      </p:sp>
      <p:sp>
        <p:nvSpPr>
          <p:cNvPr id="229" name="Oval 228">
            <a:extLst>
              <a:ext uri="{FF2B5EF4-FFF2-40B4-BE49-F238E27FC236}">
                <a16:creationId xmlns:a16="http://schemas.microsoft.com/office/drawing/2014/main" id="{7F6A6F81-7111-19D8-BC35-51DA6F9EACA9}"/>
              </a:ext>
            </a:extLst>
          </p:cNvPr>
          <p:cNvSpPr/>
          <p:nvPr/>
        </p:nvSpPr>
        <p:spPr>
          <a:xfrm>
            <a:off x="5406721" y="3200260"/>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30" name="TextBox 229">
            <a:extLst>
              <a:ext uri="{FF2B5EF4-FFF2-40B4-BE49-F238E27FC236}">
                <a16:creationId xmlns:a16="http://schemas.microsoft.com/office/drawing/2014/main" id="{817F09FE-9C00-FE19-F3F3-0AD18572E972}"/>
              </a:ext>
            </a:extLst>
          </p:cNvPr>
          <p:cNvSpPr txBox="1"/>
          <p:nvPr/>
        </p:nvSpPr>
        <p:spPr>
          <a:xfrm>
            <a:off x="5465946" y="3441011"/>
            <a:ext cx="780984"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Art</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Workflow</a:t>
            </a:r>
          </a:p>
        </p:txBody>
      </p:sp>
      <p:sp>
        <p:nvSpPr>
          <p:cNvPr id="232" name="Oval 231">
            <a:extLst>
              <a:ext uri="{FF2B5EF4-FFF2-40B4-BE49-F238E27FC236}">
                <a16:creationId xmlns:a16="http://schemas.microsoft.com/office/drawing/2014/main" id="{7711DBFD-3FFD-910A-F13F-2623D1D1270D}"/>
              </a:ext>
            </a:extLst>
          </p:cNvPr>
          <p:cNvSpPr/>
          <p:nvPr/>
        </p:nvSpPr>
        <p:spPr>
          <a:xfrm>
            <a:off x="2428931" y="2653967"/>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33" name="TextBox 232">
            <a:extLst>
              <a:ext uri="{FF2B5EF4-FFF2-40B4-BE49-F238E27FC236}">
                <a16:creationId xmlns:a16="http://schemas.microsoft.com/office/drawing/2014/main" id="{210FCF30-45B2-5E2E-5A4B-79501A5BC5E9}"/>
              </a:ext>
            </a:extLst>
          </p:cNvPr>
          <p:cNvSpPr txBox="1"/>
          <p:nvPr/>
        </p:nvSpPr>
        <p:spPr>
          <a:xfrm>
            <a:off x="2488255" y="2888315"/>
            <a:ext cx="780984"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Copy</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Workflow</a:t>
            </a:r>
          </a:p>
        </p:txBody>
      </p:sp>
      <p:sp>
        <p:nvSpPr>
          <p:cNvPr id="234" name="Oval 233">
            <a:extLst>
              <a:ext uri="{FF2B5EF4-FFF2-40B4-BE49-F238E27FC236}">
                <a16:creationId xmlns:a16="http://schemas.microsoft.com/office/drawing/2014/main" id="{91365817-2D55-003D-AE8C-C7AC891D90CA}"/>
              </a:ext>
            </a:extLst>
          </p:cNvPr>
          <p:cNvSpPr/>
          <p:nvPr/>
        </p:nvSpPr>
        <p:spPr>
          <a:xfrm>
            <a:off x="3917944" y="2801581"/>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35" name="TextBox 234">
            <a:extLst>
              <a:ext uri="{FF2B5EF4-FFF2-40B4-BE49-F238E27FC236}">
                <a16:creationId xmlns:a16="http://schemas.microsoft.com/office/drawing/2014/main" id="{3D0A0F1F-B93E-0848-8706-045BB7C73E5A}"/>
              </a:ext>
            </a:extLst>
          </p:cNvPr>
          <p:cNvSpPr txBox="1"/>
          <p:nvPr/>
        </p:nvSpPr>
        <p:spPr>
          <a:xfrm>
            <a:off x="3933466" y="3065099"/>
            <a:ext cx="867545" cy="420756"/>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Regulation</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Tech</a:t>
            </a:r>
          </a:p>
        </p:txBody>
      </p:sp>
      <p:sp>
        <p:nvSpPr>
          <p:cNvPr id="237" name="Oval 236">
            <a:extLst>
              <a:ext uri="{FF2B5EF4-FFF2-40B4-BE49-F238E27FC236}">
                <a16:creationId xmlns:a16="http://schemas.microsoft.com/office/drawing/2014/main" id="{0D064CBA-B9B5-EF4C-7130-76AD55C3B33B}"/>
              </a:ext>
            </a:extLst>
          </p:cNvPr>
          <p:cNvSpPr/>
          <p:nvPr/>
        </p:nvSpPr>
        <p:spPr>
          <a:xfrm>
            <a:off x="7222484" y="1381504"/>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38" name="TextBox 237">
            <a:extLst>
              <a:ext uri="{FF2B5EF4-FFF2-40B4-BE49-F238E27FC236}">
                <a16:creationId xmlns:a16="http://schemas.microsoft.com/office/drawing/2014/main" id="{C4AC8118-98A9-C0D7-9127-EDA49673ED21}"/>
              </a:ext>
            </a:extLst>
          </p:cNvPr>
          <p:cNvSpPr txBox="1"/>
          <p:nvPr/>
        </p:nvSpPr>
        <p:spPr>
          <a:xfrm>
            <a:off x="7360638" y="1711281"/>
            <a:ext cx="622286"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err="1">
                <a:solidFill>
                  <a:srgbClr val="FFFFFF"/>
                </a:solidFill>
                <a:latin typeface="TT Commons Pro" panose="020B0103030102020204" pitchFamily="34" charset="77"/>
                <a:ea typeface="ＭＳ Ｐゴシック" charset="-128"/>
              </a:rPr>
              <a:t>Dieline</a:t>
            </a:r>
            <a:endParaRPr lang="en-US" sz="1067" b="1">
              <a:solidFill>
                <a:srgbClr val="FFFFFF"/>
              </a:solidFill>
              <a:latin typeface="TT Commons Pro" panose="020B0103030102020204" pitchFamily="34" charset="77"/>
              <a:ea typeface="ＭＳ Ｐゴシック" charset="-128"/>
            </a:endParaRPr>
          </a:p>
        </p:txBody>
      </p:sp>
      <p:sp>
        <p:nvSpPr>
          <p:cNvPr id="240" name="Oval 239">
            <a:extLst>
              <a:ext uri="{FF2B5EF4-FFF2-40B4-BE49-F238E27FC236}">
                <a16:creationId xmlns:a16="http://schemas.microsoft.com/office/drawing/2014/main" id="{E8A97BA7-681E-3851-8F06-ABC08E51560A}"/>
              </a:ext>
            </a:extLst>
          </p:cNvPr>
          <p:cNvSpPr/>
          <p:nvPr/>
        </p:nvSpPr>
        <p:spPr>
          <a:xfrm>
            <a:off x="9741875" y="3627549"/>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41" name="TextBox 240">
            <a:extLst>
              <a:ext uri="{FF2B5EF4-FFF2-40B4-BE49-F238E27FC236}">
                <a16:creationId xmlns:a16="http://schemas.microsoft.com/office/drawing/2014/main" id="{72CE2209-610B-B094-1D3F-238771E007D9}"/>
              </a:ext>
            </a:extLst>
          </p:cNvPr>
          <p:cNvSpPr txBox="1"/>
          <p:nvPr/>
        </p:nvSpPr>
        <p:spPr>
          <a:xfrm>
            <a:off x="9812953" y="3968774"/>
            <a:ext cx="792205"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Pre-press</a:t>
            </a:r>
          </a:p>
        </p:txBody>
      </p:sp>
      <p:sp>
        <p:nvSpPr>
          <p:cNvPr id="243" name="Oval 242">
            <a:extLst>
              <a:ext uri="{FF2B5EF4-FFF2-40B4-BE49-F238E27FC236}">
                <a16:creationId xmlns:a16="http://schemas.microsoft.com/office/drawing/2014/main" id="{B2CD6842-3093-6363-52D6-6CFE3064F7B0}"/>
              </a:ext>
            </a:extLst>
          </p:cNvPr>
          <p:cNvSpPr/>
          <p:nvPr/>
        </p:nvSpPr>
        <p:spPr>
          <a:xfrm>
            <a:off x="5322595" y="5573349"/>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44" name="TextBox 243">
            <a:extLst>
              <a:ext uri="{FF2B5EF4-FFF2-40B4-BE49-F238E27FC236}">
                <a16:creationId xmlns:a16="http://schemas.microsoft.com/office/drawing/2014/main" id="{F4E4BC75-8B99-6D4E-E580-EC0A438B3DF1}"/>
              </a:ext>
            </a:extLst>
          </p:cNvPr>
          <p:cNvSpPr txBox="1"/>
          <p:nvPr/>
        </p:nvSpPr>
        <p:spPr>
          <a:xfrm>
            <a:off x="5519681" y="5902143"/>
            <a:ext cx="530916"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sset</a:t>
            </a:r>
          </a:p>
        </p:txBody>
      </p:sp>
      <p:sp>
        <p:nvSpPr>
          <p:cNvPr id="248" name="Freeform 247">
            <a:extLst>
              <a:ext uri="{FF2B5EF4-FFF2-40B4-BE49-F238E27FC236}">
                <a16:creationId xmlns:a16="http://schemas.microsoft.com/office/drawing/2014/main" id="{2F2A3941-B6C2-F59A-077F-B629640A3E15}"/>
              </a:ext>
            </a:extLst>
          </p:cNvPr>
          <p:cNvSpPr/>
          <p:nvPr/>
        </p:nvSpPr>
        <p:spPr>
          <a:xfrm rot="20426043">
            <a:off x="8020280" y="2101599"/>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49" name="Oval 248">
            <a:extLst>
              <a:ext uri="{FF2B5EF4-FFF2-40B4-BE49-F238E27FC236}">
                <a16:creationId xmlns:a16="http://schemas.microsoft.com/office/drawing/2014/main" id="{439A193C-5DBC-BC62-3B15-95B010D0B883}"/>
              </a:ext>
            </a:extLst>
          </p:cNvPr>
          <p:cNvSpPr/>
          <p:nvPr/>
        </p:nvSpPr>
        <p:spPr>
          <a:xfrm>
            <a:off x="8007349" y="3906211"/>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50" name="TextBox 249">
            <a:extLst>
              <a:ext uri="{FF2B5EF4-FFF2-40B4-BE49-F238E27FC236}">
                <a16:creationId xmlns:a16="http://schemas.microsoft.com/office/drawing/2014/main" id="{F0B27A37-B8A7-6D7F-EF52-4BA21D759CEA}"/>
              </a:ext>
            </a:extLst>
          </p:cNvPr>
          <p:cNvSpPr txBox="1"/>
          <p:nvPr/>
        </p:nvSpPr>
        <p:spPr>
          <a:xfrm>
            <a:off x="8074049" y="4165059"/>
            <a:ext cx="793807"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Pre-press</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Workflow</a:t>
            </a:r>
          </a:p>
        </p:txBody>
      </p:sp>
      <p:sp>
        <p:nvSpPr>
          <p:cNvPr id="252" name="Oval 251">
            <a:extLst>
              <a:ext uri="{FF2B5EF4-FFF2-40B4-BE49-F238E27FC236}">
                <a16:creationId xmlns:a16="http://schemas.microsoft.com/office/drawing/2014/main" id="{19B30062-782D-28FE-EAA5-1BBEDB597C88}"/>
              </a:ext>
            </a:extLst>
          </p:cNvPr>
          <p:cNvSpPr/>
          <p:nvPr/>
        </p:nvSpPr>
        <p:spPr>
          <a:xfrm>
            <a:off x="9714481" y="208100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53" name="TextBox 252">
            <a:extLst>
              <a:ext uri="{FF2B5EF4-FFF2-40B4-BE49-F238E27FC236}">
                <a16:creationId xmlns:a16="http://schemas.microsoft.com/office/drawing/2014/main" id="{71436484-70BD-5D52-4FD3-CF9B54B34923}"/>
              </a:ext>
            </a:extLst>
          </p:cNvPr>
          <p:cNvSpPr txBox="1"/>
          <p:nvPr/>
        </p:nvSpPr>
        <p:spPr>
          <a:xfrm>
            <a:off x="9911571" y="2414930"/>
            <a:ext cx="530915"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Color</a:t>
            </a:r>
          </a:p>
        </p:txBody>
      </p:sp>
      <p:sp>
        <p:nvSpPr>
          <p:cNvPr id="254" name="Oval 253">
            <a:extLst>
              <a:ext uri="{FF2B5EF4-FFF2-40B4-BE49-F238E27FC236}">
                <a16:creationId xmlns:a16="http://schemas.microsoft.com/office/drawing/2014/main" id="{263C7B45-9D51-1CF2-4D8D-B239BDCFED07}"/>
              </a:ext>
            </a:extLst>
          </p:cNvPr>
          <p:cNvSpPr/>
          <p:nvPr/>
        </p:nvSpPr>
        <p:spPr>
          <a:xfrm>
            <a:off x="1460477" y="381806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55" name="TextBox 254">
            <a:extLst>
              <a:ext uri="{FF2B5EF4-FFF2-40B4-BE49-F238E27FC236}">
                <a16:creationId xmlns:a16="http://schemas.microsoft.com/office/drawing/2014/main" id="{5FFAE29B-88C8-52B4-8FCB-B5AA692FCFDE}"/>
              </a:ext>
            </a:extLst>
          </p:cNvPr>
          <p:cNvSpPr txBox="1"/>
          <p:nvPr/>
        </p:nvSpPr>
        <p:spPr>
          <a:xfrm>
            <a:off x="1504853" y="4144295"/>
            <a:ext cx="809838"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pprovals</a:t>
            </a:r>
          </a:p>
        </p:txBody>
      </p:sp>
      <p:sp>
        <p:nvSpPr>
          <p:cNvPr id="261" name="Oval 260">
            <a:extLst>
              <a:ext uri="{FF2B5EF4-FFF2-40B4-BE49-F238E27FC236}">
                <a16:creationId xmlns:a16="http://schemas.microsoft.com/office/drawing/2014/main" id="{4DC97049-61F6-EF84-7E4F-BE991CA8FD45}"/>
              </a:ext>
            </a:extLst>
          </p:cNvPr>
          <p:cNvSpPr/>
          <p:nvPr/>
        </p:nvSpPr>
        <p:spPr>
          <a:xfrm>
            <a:off x="5708433" y="1817487"/>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62" name="TextBox 261">
            <a:extLst>
              <a:ext uri="{FF2B5EF4-FFF2-40B4-BE49-F238E27FC236}">
                <a16:creationId xmlns:a16="http://schemas.microsoft.com/office/drawing/2014/main" id="{E62743DF-C9CE-6073-C2CC-355C7A7907F4}"/>
              </a:ext>
            </a:extLst>
          </p:cNvPr>
          <p:cNvSpPr txBox="1"/>
          <p:nvPr/>
        </p:nvSpPr>
        <p:spPr>
          <a:xfrm>
            <a:off x="5751406" y="2131518"/>
            <a:ext cx="829074"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err="1">
                <a:solidFill>
                  <a:srgbClr val="FFFFFF"/>
                </a:solidFill>
                <a:latin typeface="TT Commons Pro" panose="020B0103030102020204" pitchFamily="34" charset="77"/>
                <a:ea typeface="ＭＳ Ｐゴシック" charset="-128"/>
              </a:rPr>
              <a:t>Packshots</a:t>
            </a:r>
            <a:endParaRPr lang="en-US" sz="1067" b="1">
              <a:solidFill>
                <a:srgbClr val="FFFFFF"/>
              </a:solidFill>
              <a:latin typeface="TT Commons Pro" panose="020B0103030102020204" pitchFamily="34" charset="77"/>
              <a:ea typeface="ＭＳ Ｐゴシック" charset="-128"/>
            </a:endParaRPr>
          </a:p>
        </p:txBody>
      </p:sp>
    </p:spTree>
    <p:extLst>
      <p:ext uri="{BB962C8B-B14F-4D97-AF65-F5344CB8AC3E}">
        <p14:creationId xmlns:p14="http://schemas.microsoft.com/office/powerpoint/2010/main" val="1592817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80C5A-C548-94E0-9249-9550086579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399634-93BF-B471-BBCA-36996146521C}"/>
              </a:ext>
            </a:extLst>
          </p:cNvPr>
          <p:cNvSpPr>
            <a:spLocks noGrp="1"/>
          </p:cNvSpPr>
          <p:nvPr>
            <p:ph type="title"/>
          </p:nvPr>
        </p:nvSpPr>
        <p:spPr>
          <a:xfrm>
            <a:off x="365125" y="386244"/>
            <a:ext cx="11461751" cy="845328"/>
          </a:xfrm>
        </p:spPr>
        <p:txBody>
          <a:bodyPr/>
          <a:lstStyle/>
          <a:p>
            <a:r>
              <a:rPr lang="en-US" sz="5333"/>
              <a:t>A Connected Execution Platform </a:t>
            </a:r>
          </a:p>
        </p:txBody>
      </p:sp>
      <p:sp>
        <p:nvSpPr>
          <p:cNvPr id="18" name="Content Placeholder 2">
            <a:extLst>
              <a:ext uri="{FF2B5EF4-FFF2-40B4-BE49-F238E27FC236}">
                <a16:creationId xmlns:a16="http://schemas.microsoft.com/office/drawing/2014/main" id="{28F6A748-715A-45BA-D37D-7C9EED336DBF}"/>
              </a:ext>
            </a:extLst>
          </p:cNvPr>
          <p:cNvSpPr txBox="1">
            <a:spLocks/>
          </p:cNvSpPr>
          <p:nvPr/>
        </p:nvSpPr>
        <p:spPr>
          <a:xfrm>
            <a:off x="365125" y="1701380"/>
            <a:ext cx="7676109" cy="4652338"/>
          </a:xfrm>
          <a:prstGeom prst="rect">
            <a:avLst/>
          </a:prstGeom>
        </p:spPr>
        <p:txBody>
          <a:bodyPr vert="horz" lIns="121920" tIns="60960" rIns="121920" bIns="60960" rtlCol="0">
            <a:normAutofit/>
          </a:bodyPr>
          <a:lstStyle>
            <a:lvl1pPr marL="228600" indent="-228600" algn="l" defTabSz="685800" rtl="0" eaLnBrk="1" latinLnBrk="0" hangingPunct="1">
              <a:lnSpc>
                <a:spcPct val="100000"/>
              </a:lnSpc>
              <a:spcBef>
                <a:spcPts val="750"/>
              </a:spcBef>
              <a:buFontTx/>
              <a:buBlip>
                <a:blip r:embed="rId3"/>
              </a:buBlip>
              <a:tabLst/>
              <a:defRPr sz="1600" b="0" i="0" kern="1200">
                <a:solidFill>
                  <a:schemeClr val="tx1"/>
                </a:solidFill>
                <a:latin typeface="TT Commons Pro Light" panose="020B0103030102020204" pitchFamily="34" charset="77"/>
                <a:ea typeface="+mn-ea"/>
                <a:cs typeface="Arial" panose="020B0604020202020204" pitchFamily="34" charset="0"/>
              </a:defRPr>
            </a:lvl1pPr>
            <a:lvl2pPr marL="457200" indent="-228600" algn="l" defTabSz="685800" rtl="0" eaLnBrk="1" latinLnBrk="0" hangingPunct="1">
              <a:lnSpc>
                <a:spcPct val="100000"/>
              </a:lnSpc>
              <a:spcBef>
                <a:spcPts val="375"/>
              </a:spcBef>
              <a:buClr>
                <a:schemeClr val="tx1"/>
              </a:buClr>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2pPr>
            <a:lvl3pPr marL="685800" indent="-228600" algn="l" defTabSz="685800" rtl="0" eaLnBrk="1" latinLnBrk="0" hangingPunct="1">
              <a:lnSpc>
                <a:spcPct val="100000"/>
              </a:lnSpc>
              <a:spcBef>
                <a:spcPts val="375"/>
              </a:spcBef>
              <a:buClr>
                <a:schemeClr val="accent1"/>
              </a:buClr>
              <a:buFont typeface="Wingdings" pitchFamily="2" charset="2"/>
              <a:buChar char="§"/>
              <a:tabLst/>
              <a:defRPr sz="1400" b="0" i="0" kern="1200">
                <a:solidFill>
                  <a:schemeClr val="tx1"/>
                </a:solidFill>
                <a:latin typeface="TT Commons Pro Light" panose="020B0103030102020204" pitchFamily="34" charset="77"/>
                <a:ea typeface="+mn-ea"/>
                <a:cs typeface="Arial" panose="020B0604020202020204" pitchFamily="34" charset="0"/>
              </a:defRPr>
            </a:lvl3pPr>
            <a:lvl4pPr marL="914400" indent="-228600" algn="l" defTabSz="685800" rtl="0" eaLnBrk="1" latinLnBrk="0" hangingPunct="1">
              <a:lnSpc>
                <a:spcPct val="100000"/>
              </a:lnSpc>
              <a:spcBef>
                <a:spcPts val="375"/>
              </a:spcBef>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4pPr>
            <a:lvl5pPr marL="1087438" indent="-173038" algn="l" defTabSz="685800" rtl="0" eaLnBrk="1" latinLnBrk="0" hangingPunct="1">
              <a:lnSpc>
                <a:spcPct val="100000"/>
              </a:lnSpc>
              <a:spcBef>
                <a:spcPts val="375"/>
              </a:spcBef>
              <a:buClr>
                <a:schemeClr val="accent1"/>
              </a:buClr>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377" fontAlgn="base">
              <a:spcBef>
                <a:spcPts val="1000"/>
              </a:spcBef>
              <a:spcAft>
                <a:spcPts val="800"/>
              </a:spcAft>
              <a:buNone/>
            </a:pPr>
            <a:r>
              <a:rPr lang="en-US" sz="1867" b="1">
                <a:solidFill>
                  <a:srgbClr val="FFFFFF"/>
                </a:solidFill>
                <a:latin typeface="TT Commons Pro" panose="020B0103030102020204" pitchFamily="34" charset="77"/>
              </a:rPr>
              <a:t>Incremental workflow improvements are no longer enough. </a:t>
            </a:r>
            <a:br>
              <a:rPr lang="en-US" sz="1867" b="1">
                <a:solidFill>
                  <a:srgbClr val="FFFFFF"/>
                </a:solidFill>
                <a:latin typeface="TT Commons Pro" panose="020B0103030102020204" pitchFamily="34" charset="77"/>
              </a:rPr>
            </a:br>
            <a:r>
              <a:rPr lang="en-US" sz="1867" b="1">
                <a:solidFill>
                  <a:srgbClr val="FFFFFF"/>
                </a:solidFill>
                <a:latin typeface="TT Commons Pro" panose="020B0103030102020204" pitchFamily="34" charset="77"/>
              </a:rPr>
              <a:t>The limitation is not individual steps; it is the execution foundation. </a:t>
            </a:r>
          </a:p>
          <a:p>
            <a:pPr marL="0" indent="0" defTabSz="914377" fontAlgn="base">
              <a:spcBef>
                <a:spcPts val="1800"/>
              </a:spcBef>
              <a:spcAft>
                <a:spcPct val="0"/>
              </a:spcAft>
              <a:buNone/>
            </a:pPr>
            <a:r>
              <a:rPr lang="en-US" sz="1867">
                <a:solidFill>
                  <a:srgbClr val="FFFFFF"/>
                </a:solidFill>
              </a:rPr>
              <a:t>Brands need: </a:t>
            </a:r>
          </a:p>
          <a:p>
            <a:pPr marL="304792" indent="-304792" defTabSz="914377" fontAlgn="base">
              <a:spcBef>
                <a:spcPts val="1000"/>
              </a:spcBef>
              <a:spcAft>
                <a:spcPct val="0"/>
              </a:spcAft>
            </a:pPr>
            <a:r>
              <a:rPr lang="en-US" sz="1867">
                <a:solidFill>
                  <a:srgbClr val="FFFFFF"/>
                </a:solidFill>
              </a:rPr>
              <a:t>A different execution model</a:t>
            </a:r>
          </a:p>
          <a:p>
            <a:pPr marL="304792" indent="-304792" defTabSz="914377" fontAlgn="base">
              <a:spcBef>
                <a:spcPts val="1000"/>
              </a:spcBef>
              <a:spcAft>
                <a:spcPct val="0"/>
              </a:spcAft>
            </a:pPr>
            <a:r>
              <a:rPr lang="en-US" sz="1867">
                <a:solidFill>
                  <a:srgbClr val="FFFFFF"/>
                </a:solidFill>
              </a:rPr>
              <a:t>Designed for a constant change</a:t>
            </a:r>
          </a:p>
          <a:p>
            <a:pPr marL="304792" indent="-304792" defTabSz="914377" fontAlgn="base">
              <a:spcBef>
                <a:spcPts val="1000"/>
              </a:spcBef>
              <a:spcAft>
                <a:spcPct val="0"/>
              </a:spcAft>
            </a:pPr>
            <a:r>
              <a:rPr lang="en-US" sz="1867">
                <a:solidFill>
                  <a:srgbClr val="FFFFFF"/>
                </a:solidFill>
              </a:rPr>
              <a:t>Built to scale</a:t>
            </a:r>
          </a:p>
          <a:p>
            <a:pPr marL="304792" indent="-304792" defTabSz="914377" fontAlgn="base">
              <a:spcBef>
                <a:spcPts val="1000"/>
              </a:spcBef>
              <a:spcAft>
                <a:spcPct val="0"/>
              </a:spcAft>
            </a:pPr>
            <a:r>
              <a:rPr lang="en-US" sz="1867">
                <a:solidFill>
                  <a:srgbClr val="FFFFFF"/>
                </a:solidFill>
              </a:rPr>
              <a:t>With quality embedded throughout</a:t>
            </a:r>
          </a:p>
        </p:txBody>
      </p:sp>
      <p:sp>
        <p:nvSpPr>
          <p:cNvPr id="77" name="Freeform 76">
            <a:extLst>
              <a:ext uri="{FF2B5EF4-FFF2-40B4-BE49-F238E27FC236}">
                <a16:creationId xmlns:a16="http://schemas.microsoft.com/office/drawing/2014/main" id="{5CD0F005-BE85-9469-D845-67BCEDB10382}"/>
              </a:ext>
            </a:extLst>
          </p:cNvPr>
          <p:cNvSpPr/>
          <p:nvPr/>
        </p:nvSpPr>
        <p:spPr>
          <a:xfrm rot="20130394">
            <a:off x="9083797" y="2308245"/>
            <a:ext cx="464371" cy="144932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78" name="Freeform 77">
            <a:extLst>
              <a:ext uri="{FF2B5EF4-FFF2-40B4-BE49-F238E27FC236}">
                <a16:creationId xmlns:a16="http://schemas.microsoft.com/office/drawing/2014/main" id="{1CBB0C29-30BC-B36D-263B-17FFF9560BF0}"/>
              </a:ext>
            </a:extLst>
          </p:cNvPr>
          <p:cNvSpPr/>
          <p:nvPr/>
        </p:nvSpPr>
        <p:spPr>
          <a:xfrm rot="2502535">
            <a:off x="8329348" y="2580266"/>
            <a:ext cx="435483" cy="45158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79" name="Freeform 78">
            <a:extLst>
              <a:ext uri="{FF2B5EF4-FFF2-40B4-BE49-F238E27FC236}">
                <a16:creationId xmlns:a16="http://schemas.microsoft.com/office/drawing/2014/main" id="{9DC5DC8C-26D3-BF9C-FAF8-C9A208ACA637}"/>
              </a:ext>
            </a:extLst>
          </p:cNvPr>
          <p:cNvSpPr/>
          <p:nvPr/>
        </p:nvSpPr>
        <p:spPr>
          <a:xfrm rot="18146750">
            <a:off x="7429839" y="3079336"/>
            <a:ext cx="502447" cy="64178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80" name="Freeform 79">
            <a:extLst>
              <a:ext uri="{FF2B5EF4-FFF2-40B4-BE49-F238E27FC236}">
                <a16:creationId xmlns:a16="http://schemas.microsoft.com/office/drawing/2014/main" id="{72FEE50B-C63B-C194-A222-BCC72E26A1AB}"/>
              </a:ext>
            </a:extLst>
          </p:cNvPr>
          <p:cNvSpPr/>
          <p:nvPr/>
        </p:nvSpPr>
        <p:spPr>
          <a:xfrm rot="3863213">
            <a:off x="6157459" y="3543682"/>
            <a:ext cx="553464" cy="64884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81" name="Freeform 80">
            <a:extLst>
              <a:ext uri="{FF2B5EF4-FFF2-40B4-BE49-F238E27FC236}">
                <a16:creationId xmlns:a16="http://schemas.microsoft.com/office/drawing/2014/main" id="{B38B4803-302B-3BD2-BE45-6C72BDA674B5}"/>
              </a:ext>
            </a:extLst>
          </p:cNvPr>
          <p:cNvSpPr/>
          <p:nvPr/>
        </p:nvSpPr>
        <p:spPr>
          <a:xfrm rot="2227833">
            <a:off x="10828706" y="3883579"/>
            <a:ext cx="549983" cy="93996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82" name="Freeform 81">
            <a:extLst>
              <a:ext uri="{FF2B5EF4-FFF2-40B4-BE49-F238E27FC236}">
                <a16:creationId xmlns:a16="http://schemas.microsoft.com/office/drawing/2014/main" id="{8B8A1D58-6A64-413F-6A70-9612ACE4E863}"/>
              </a:ext>
            </a:extLst>
          </p:cNvPr>
          <p:cNvSpPr/>
          <p:nvPr/>
        </p:nvSpPr>
        <p:spPr>
          <a:xfrm>
            <a:off x="6933238" y="3703879"/>
            <a:ext cx="454181" cy="605912"/>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83" name="Freeform 82">
            <a:extLst>
              <a:ext uri="{FF2B5EF4-FFF2-40B4-BE49-F238E27FC236}">
                <a16:creationId xmlns:a16="http://schemas.microsoft.com/office/drawing/2014/main" id="{FE60CED2-B3F0-6E1E-D0A9-8559ACED59D0}"/>
              </a:ext>
            </a:extLst>
          </p:cNvPr>
          <p:cNvSpPr/>
          <p:nvPr/>
        </p:nvSpPr>
        <p:spPr>
          <a:xfrm rot="3799550">
            <a:off x="7706766" y="3684175"/>
            <a:ext cx="495140" cy="74812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84" name="Freeform 83">
            <a:extLst>
              <a:ext uri="{FF2B5EF4-FFF2-40B4-BE49-F238E27FC236}">
                <a16:creationId xmlns:a16="http://schemas.microsoft.com/office/drawing/2014/main" id="{F024A6D2-981F-26C0-1B9A-86D2CA53D617}"/>
              </a:ext>
            </a:extLst>
          </p:cNvPr>
          <p:cNvSpPr/>
          <p:nvPr/>
        </p:nvSpPr>
        <p:spPr>
          <a:xfrm rot="7522462">
            <a:off x="7931858" y="4511337"/>
            <a:ext cx="495140" cy="64328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85" name="Freeform 84">
            <a:extLst>
              <a:ext uri="{FF2B5EF4-FFF2-40B4-BE49-F238E27FC236}">
                <a16:creationId xmlns:a16="http://schemas.microsoft.com/office/drawing/2014/main" id="{45096B55-3947-34B1-A4F5-CFEAE3071822}"/>
              </a:ext>
            </a:extLst>
          </p:cNvPr>
          <p:cNvSpPr/>
          <p:nvPr/>
        </p:nvSpPr>
        <p:spPr>
          <a:xfrm rot="3749002">
            <a:off x="8217661" y="5213555"/>
            <a:ext cx="483104" cy="65938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86" name="Freeform 85">
            <a:extLst>
              <a:ext uri="{FF2B5EF4-FFF2-40B4-BE49-F238E27FC236}">
                <a16:creationId xmlns:a16="http://schemas.microsoft.com/office/drawing/2014/main" id="{8251D6A2-D482-8C0E-7F30-4714F1174332}"/>
              </a:ext>
            </a:extLst>
          </p:cNvPr>
          <p:cNvSpPr/>
          <p:nvPr/>
        </p:nvSpPr>
        <p:spPr>
          <a:xfrm rot="3749002">
            <a:off x="9152841" y="4070937"/>
            <a:ext cx="495140" cy="78110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14" name="Freeform 113">
            <a:extLst>
              <a:ext uri="{FF2B5EF4-FFF2-40B4-BE49-F238E27FC236}">
                <a16:creationId xmlns:a16="http://schemas.microsoft.com/office/drawing/2014/main" id="{A099F44B-F89A-1CE1-749A-B08F4A4411EA}"/>
              </a:ext>
            </a:extLst>
          </p:cNvPr>
          <p:cNvSpPr/>
          <p:nvPr/>
        </p:nvSpPr>
        <p:spPr>
          <a:xfrm rot="7842889">
            <a:off x="8893862" y="3345431"/>
            <a:ext cx="495140" cy="73726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38" name="Freeform 137">
            <a:extLst>
              <a:ext uri="{FF2B5EF4-FFF2-40B4-BE49-F238E27FC236}">
                <a16:creationId xmlns:a16="http://schemas.microsoft.com/office/drawing/2014/main" id="{63FA3466-4440-809C-DDB6-53DCAEBEBFC3}"/>
              </a:ext>
            </a:extLst>
          </p:cNvPr>
          <p:cNvSpPr/>
          <p:nvPr/>
        </p:nvSpPr>
        <p:spPr>
          <a:xfrm rot="6772742">
            <a:off x="9592902" y="4479169"/>
            <a:ext cx="549983" cy="1223432"/>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06288 w 396235"/>
              <a:gd name="csY5" fmla="*/ 271274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06288 w 396235"/>
              <a:gd name="csY5" fmla="*/ 271274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99322" y="315563"/>
                  <a:pt x="106288" y="271274"/>
                </a:cubicBezTo>
                <a:cubicBezTo>
                  <a:pt x="161306" y="175313"/>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39" name="Freeform 138">
            <a:extLst>
              <a:ext uri="{FF2B5EF4-FFF2-40B4-BE49-F238E27FC236}">
                <a16:creationId xmlns:a16="http://schemas.microsoft.com/office/drawing/2014/main" id="{3164D300-F849-00F8-F83E-87D7DE55F523}"/>
              </a:ext>
            </a:extLst>
          </p:cNvPr>
          <p:cNvSpPr/>
          <p:nvPr/>
        </p:nvSpPr>
        <p:spPr>
          <a:xfrm rot="9313239">
            <a:off x="11134090" y="5395228"/>
            <a:ext cx="522708" cy="46909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72" name="Freeform 171">
            <a:extLst>
              <a:ext uri="{FF2B5EF4-FFF2-40B4-BE49-F238E27FC236}">
                <a16:creationId xmlns:a16="http://schemas.microsoft.com/office/drawing/2014/main" id="{376AC3F9-3FB9-DCE5-F38E-185C72103549}"/>
              </a:ext>
            </a:extLst>
          </p:cNvPr>
          <p:cNvSpPr/>
          <p:nvPr/>
        </p:nvSpPr>
        <p:spPr>
          <a:xfrm rot="21028927">
            <a:off x="10098417" y="4083786"/>
            <a:ext cx="563707" cy="82011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56811"/>
              <a:gd name="csX1" fmla="*/ 149648 w 396235"/>
              <a:gd name="csY1" fmla="*/ 0 h 556811"/>
              <a:gd name="csX2" fmla="*/ 225303 w 396235"/>
              <a:gd name="csY2" fmla="*/ 241678 h 556811"/>
              <a:gd name="csX3" fmla="*/ 396235 w 396235"/>
              <a:gd name="csY3" fmla="*/ 484573 h 556811"/>
              <a:gd name="csX4" fmla="*/ 226175 w 396235"/>
              <a:gd name="csY4" fmla="*/ 556811 h 556811"/>
              <a:gd name="csX5" fmla="*/ 117353 w 396235"/>
              <a:gd name="csY5" fmla="*/ 295653 h 556811"/>
              <a:gd name="csX6" fmla="*/ 0 w 396235"/>
              <a:gd name="csY6" fmla="*/ 30397 h 556811"/>
              <a:gd name="csX0" fmla="*/ 0 w 396235"/>
              <a:gd name="csY0" fmla="*/ 30397 h 556811"/>
              <a:gd name="csX1" fmla="*/ 149648 w 396235"/>
              <a:gd name="csY1" fmla="*/ 0 h 556811"/>
              <a:gd name="csX2" fmla="*/ 225303 w 396235"/>
              <a:gd name="csY2" fmla="*/ 241678 h 556811"/>
              <a:gd name="csX3" fmla="*/ 396235 w 396235"/>
              <a:gd name="csY3" fmla="*/ 484573 h 556811"/>
              <a:gd name="csX4" fmla="*/ 226175 w 396235"/>
              <a:gd name="csY4" fmla="*/ 556811 h 556811"/>
              <a:gd name="csX5" fmla="*/ 117353 w 396235"/>
              <a:gd name="csY5" fmla="*/ 295653 h 556811"/>
              <a:gd name="csX6" fmla="*/ 0 w 396235"/>
              <a:gd name="csY6" fmla="*/ 30397 h 556811"/>
              <a:gd name="csX0" fmla="*/ 0 w 406123"/>
              <a:gd name="csY0" fmla="*/ 71756 h 556811"/>
              <a:gd name="csX1" fmla="*/ 159536 w 406123"/>
              <a:gd name="csY1" fmla="*/ 0 h 556811"/>
              <a:gd name="csX2" fmla="*/ 235191 w 406123"/>
              <a:gd name="csY2" fmla="*/ 241678 h 556811"/>
              <a:gd name="csX3" fmla="*/ 406123 w 406123"/>
              <a:gd name="csY3" fmla="*/ 484573 h 556811"/>
              <a:gd name="csX4" fmla="*/ 236063 w 406123"/>
              <a:gd name="csY4" fmla="*/ 556811 h 556811"/>
              <a:gd name="csX5" fmla="*/ 127241 w 406123"/>
              <a:gd name="csY5" fmla="*/ 295653 h 556811"/>
              <a:gd name="csX6" fmla="*/ 0 w 406123"/>
              <a:gd name="csY6" fmla="*/ 71756 h 556811"/>
              <a:gd name="csX0" fmla="*/ 0 w 406123"/>
              <a:gd name="csY0" fmla="*/ 71756 h 556811"/>
              <a:gd name="csX1" fmla="*/ 159536 w 406123"/>
              <a:gd name="csY1" fmla="*/ 0 h 556811"/>
              <a:gd name="csX2" fmla="*/ 235191 w 406123"/>
              <a:gd name="csY2" fmla="*/ 241678 h 556811"/>
              <a:gd name="csX3" fmla="*/ 406123 w 406123"/>
              <a:gd name="csY3" fmla="*/ 484573 h 556811"/>
              <a:gd name="csX4" fmla="*/ 236063 w 406123"/>
              <a:gd name="csY4" fmla="*/ 556811 h 556811"/>
              <a:gd name="csX5" fmla="*/ 127241 w 406123"/>
              <a:gd name="csY5" fmla="*/ 295653 h 556811"/>
              <a:gd name="csX6" fmla="*/ 0 w 406123"/>
              <a:gd name="csY6" fmla="*/ 71756 h 55681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06123" h="556811">
                <a:moveTo>
                  <a:pt x="0" y="71756"/>
                </a:moveTo>
                <a:cubicBezTo>
                  <a:pt x="98688" y="76489"/>
                  <a:pt x="106357" y="23919"/>
                  <a:pt x="159536" y="0"/>
                </a:cubicBezTo>
                <a:cubicBezTo>
                  <a:pt x="158316" y="77358"/>
                  <a:pt x="85634" y="184291"/>
                  <a:pt x="235191" y="241678"/>
                </a:cubicBezTo>
                <a:cubicBezTo>
                  <a:pt x="218273" y="305083"/>
                  <a:pt x="263070" y="494546"/>
                  <a:pt x="406123" y="484573"/>
                </a:cubicBezTo>
                <a:cubicBezTo>
                  <a:pt x="343708" y="493440"/>
                  <a:pt x="289090" y="501155"/>
                  <a:pt x="236063" y="556811"/>
                </a:cubicBezTo>
                <a:cubicBezTo>
                  <a:pt x="309424" y="416840"/>
                  <a:pt x="197881" y="318336"/>
                  <a:pt x="127241" y="295653"/>
                </a:cubicBezTo>
                <a:cubicBezTo>
                  <a:pt x="182259" y="199692"/>
                  <a:pt x="76868" y="151096"/>
                  <a:pt x="0" y="71756"/>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73" name="Freeform 172">
            <a:extLst>
              <a:ext uri="{FF2B5EF4-FFF2-40B4-BE49-F238E27FC236}">
                <a16:creationId xmlns:a16="http://schemas.microsoft.com/office/drawing/2014/main" id="{3C30B418-63AD-ED97-44A7-4A25E82A6021}"/>
              </a:ext>
            </a:extLst>
          </p:cNvPr>
          <p:cNvSpPr/>
          <p:nvPr/>
        </p:nvSpPr>
        <p:spPr>
          <a:xfrm rot="9256127">
            <a:off x="11630947" y="3805131"/>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74" name="Freeform 173">
            <a:extLst>
              <a:ext uri="{FF2B5EF4-FFF2-40B4-BE49-F238E27FC236}">
                <a16:creationId xmlns:a16="http://schemas.microsoft.com/office/drawing/2014/main" id="{E557B4DB-F458-83C9-5BDE-4E4BB26EB9E8}"/>
              </a:ext>
            </a:extLst>
          </p:cNvPr>
          <p:cNvSpPr/>
          <p:nvPr/>
        </p:nvSpPr>
        <p:spPr>
          <a:xfrm rot="14663104">
            <a:off x="10040318" y="5399101"/>
            <a:ext cx="549983" cy="51967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36963 w 396235"/>
              <a:gd name="csY5" fmla="*/ 315775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207603" y="338458"/>
                  <a:pt x="136963" y="315775"/>
                </a:cubicBezTo>
                <a:cubicBezTo>
                  <a:pt x="191981" y="219814"/>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75" name="Freeform 174">
            <a:extLst>
              <a:ext uri="{FF2B5EF4-FFF2-40B4-BE49-F238E27FC236}">
                <a16:creationId xmlns:a16="http://schemas.microsoft.com/office/drawing/2014/main" id="{08B90CAC-025C-1A17-42D0-76D921942F21}"/>
              </a:ext>
            </a:extLst>
          </p:cNvPr>
          <p:cNvSpPr/>
          <p:nvPr/>
        </p:nvSpPr>
        <p:spPr>
          <a:xfrm rot="5756388">
            <a:off x="11830943" y="3123027"/>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76" name="Freeform 175">
            <a:extLst>
              <a:ext uri="{FF2B5EF4-FFF2-40B4-BE49-F238E27FC236}">
                <a16:creationId xmlns:a16="http://schemas.microsoft.com/office/drawing/2014/main" id="{41E997E1-BF39-42C0-7847-5C3B931F8D7A}"/>
              </a:ext>
            </a:extLst>
          </p:cNvPr>
          <p:cNvSpPr/>
          <p:nvPr/>
        </p:nvSpPr>
        <p:spPr>
          <a:xfrm rot="5756388">
            <a:off x="10722459" y="1967801"/>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77" name="Freeform 176">
            <a:extLst>
              <a:ext uri="{FF2B5EF4-FFF2-40B4-BE49-F238E27FC236}">
                <a16:creationId xmlns:a16="http://schemas.microsoft.com/office/drawing/2014/main" id="{AA036B16-750C-37CB-98F7-3899FA2DBF15}"/>
              </a:ext>
            </a:extLst>
          </p:cNvPr>
          <p:cNvSpPr/>
          <p:nvPr/>
        </p:nvSpPr>
        <p:spPr>
          <a:xfrm rot="2553765">
            <a:off x="11330123" y="2522042"/>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78" name="Freeform 177">
            <a:extLst>
              <a:ext uri="{FF2B5EF4-FFF2-40B4-BE49-F238E27FC236}">
                <a16:creationId xmlns:a16="http://schemas.microsoft.com/office/drawing/2014/main" id="{2A88060B-3C31-A605-5BDD-658978098FCA}"/>
              </a:ext>
            </a:extLst>
          </p:cNvPr>
          <p:cNvSpPr/>
          <p:nvPr/>
        </p:nvSpPr>
        <p:spPr>
          <a:xfrm rot="3032600">
            <a:off x="12065479" y="4987765"/>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79" name="Freeform 178">
            <a:extLst>
              <a:ext uri="{FF2B5EF4-FFF2-40B4-BE49-F238E27FC236}">
                <a16:creationId xmlns:a16="http://schemas.microsoft.com/office/drawing/2014/main" id="{5B5D607C-EF3B-C06B-AE60-D4BC9A901BCE}"/>
              </a:ext>
            </a:extLst>
          </p:cNvPr>
          <p:cNvSpPr/>
          <p:nvPr/>
        </p:nvSpPr>
        <p:spPr>
          <a:xfrm rot="6035246">
            <a:off x="13108214" y="3931552"/>
            <a:ext cx="549983" cy="995397"/>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0" name="Freeform 179">
            <a:extLst>
              <a:ext uri="{FF2B5EF4-FFF2-40B4-BE49-F238E27FC236}">
                <a16:creationId xmlns:a16="http://schemas.microsoft.com/office/drawing/2014/main" id="{CB52F63B-1A2B-97BD-91E7-36DD5EB9A36D}"/>
              </a:ext>
            </a:extLst>
          </p:cNvPr>
          <p:cNvSpPr/>
          <p:nvPr/>
        </p:nvSpPr>
        <p:spPr>
          <a:xfrm rot="1425566">
            <a:off x="13985791" y="3165549"/>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1" name="Freeform 180">
            <a:extLst>
              <a:ext uri="{FF2B5EF4-FFF2-40B4-BE49-F238E27FC236}">
                <a16:creationId xmlns:a16="http://schemas.microsoft.com/office/drawing/2014/main" id="{43550008-6985-5A45-F75C-F77D70BC1ED7}"/>
              </a:ext>
            </a:extLst>
          </p:cNvPr>
          <p:cNvSpPr/>
          <p:nvPr/>
        </p:nvSpPr>
        <p:spPr>
          <a:xfrm rot="6039179">
            <a:off x="10362335" y="3416642"/>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2" name="Freeform 181">
            <a:extLst>
              <a:ext uri="{FF2B5EF4-FFF2-40B4-BE49-F238E27FC236}">
                <a16:creationId xmlns:a16="http://schemas.microsoft.com/office/drawing/2014/main" id="{96BD412B-3D22-910E-026F-1AA26D6D0D05}"/>
              </a:ext>
            </a:extLst>
          </p:cNvPr>
          <p:cNvSpPr/>
          <p:nvPr/>
        </p:nvSpPr>
        <p:spPr>
          <a:xfrm rot="9410302">
            <a:off x="10487481" y="2724115"/>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3" name="Freeform 182">
            <a:extLst>
              <a:ext uri="{FF2B5EF4-FFF2-40B4-BE49-F238E27FC236}">
                <a16:creationId xmlns:a16="http://schemas.microsoft.com/office/drawing/2014/main" id="{70D687D3-BCFE-0ECD-B1DF-785755ED0E4D}"/>
              </a:ext>
            </a:extLst>
          </p:cNvPr>
          <p:cNvSpPr/>
          <p:nvPr/>
        </p:nvSpPr>
        <p:spPr>
          <a:xfrm rot="190351">
            <a:off x="7438371" y="5067989"/>
            <a:ext cx="495140" cy="70677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4" name="Oval 183">
            <a:extLst>
              <a:ext uri="{FF2B5EF4-FFF2-40B4-BE49-F238E27FC236}">
                <a16:creationId xmlns:a16="http://schemas.microsoft.com/office/drawing/2014/main" id="{FF658BB3-FAA1-91C4-D47B-1B51A5E59DFE}"/>
              </a:ext>
            </a:extLst>
          </p:cNvPr>
          <p:cNvSpPr/>
          <p:nvPr/>
        </p:nvSpPr>
        <p:spPr>
          <a:xfrm>
            <a:off x="12351665" y="2759057"/>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pic>
        <p:nvPicPr>
          <p:cNvPr id="185" name="Picture 184" descr="A black and pink logo&#10;&#10;AI-generated content may be incorrect.">
            <a:extLst>
              <a:ext uri="{FF2B5EF4-FFF2-40B4-BE49-F238E27FC236}">
                <a16:creationId xmlns:a16="http://schemas.microsoft.com/office/drawing/2014/main" id="{11CE5EB6-7530-A904-1277-965D9462A39F}"/>
              </a:ext>
            </a:extLst>
          </p:cNvPr>
          <p:cNvPicPr>
            <a:picLocks noChangeAspect="1"/>
          </p:cNvPicPr>
          <p:nvPr/>
        </p:nvPicPr>
        <p:blipFill>
          <a:blip r:embed="rId4"/>
          <a:stretch>
            <a:fillRect/>
          </a:stretch>
        </p:blipFill>
        <p:spPr>
          <a:xfrm>
            <a:off x="8136000" y="3538984"/>
            <a:ext cx="554795" cy="112307"/>
          </a:xfrm>
          <a:prstGeom prst="rect">
            <a:avLst/>
          </a:prstGeom>
        </p:spPr>
      </p:pic>
      <p:sp>
        <p:nvSpPr>
          <p:cNvPr id="186" name="TextBox 185">
            <a:extLst>
              <a:ext uri="{FF2B5EF4-FFF2-40B4-BE49-F238E27FC236}">
                <a16:creationId xmlns:a16="http://schemas.microsoft.com/office/drawing/2014/main" id="{291FB86B-B530-C904-6BA9-4438C71A3062}"/>
              </a:ext>
            </a:extLst>
          </p:cNvPr>
          <p:cNvSpPr txBox="1"/>
          <p:nvPr/>
        </p:nvSpPr>
        <p:spPr>
          <a:xfrm>
            <a:off x="12394478" y="3107901"/>
            <a:ext cx="862737" cy="235898"/>
          </a:xfrm>
          <a:prstGeom prst="rect">
            <a:avLst/>
          </a:prstGeom>
          <a:noFill/>
        </p:spPr>
        <p:txBody>
          <a:bodyPr wrap="none" rtlCol="0">
            <a:spAutoFit/>
          </a:bodyPr>
          <a:lstStyle/>
          <a:p>
            <a:pPr algn="ctr" defTabSz="1219170" eaLnBrk="0" fontAlgn="base" hangingPunct="0">
              <a:spcBef>
                <a:spcPct val="0"/>
              </a:spcBef>
              <a:spcAft>
                <a:spcPct val="0"/>
              </a:spcAft>
            </a:pPr>
            <a:r>
              <a:rPr lang="en-US" sz="933" b="1">
                <a:solidFill>
                  <a:srgbClr val="FFFFFF"/>
                </a:solidFill>
                <a:latin typeface="TT Commons Pro" panose="020B0103030102020204" pitchFamily="34" charset="77"/>
                <a:ea typeface="ＭＳ Ｐゴシック" charset="-128"/>
              </a:rPr>
              <a:t>Palletization</a:t>
            </a:r>
            <a:endParaRPr lang="en-US" sz="1067" b="1">
              <a:solidFill>
                <a:srgbClr val="FFFFFF"/>
              </a:solidFill>
              <a:latin typeface="TT Commons Pro" panose="020B0103030102020204" pitchFamily="34" charset="77"/>
              <a:ea typeface="ＭＳ Ｐゴシック" charset="-128"/>
            </a:endParaRPr>
          </a:p>
        </p:txBody>
      </p:sp>
      <p:sp>
        <p:nvSpPr>
          <p:cNvPr id="187" name="Freeform 186">
            <a:extLst>
              <a:ext uri="{FF2B5EF4-FFF2-40B4-BE49-F238E27FC236}">
                <a16:creationId xmlns:a16="http://schemas.microsoft.com/office/drawing/2014/main" id="{EF021C15-A799-FCDD-3A86-D75C67896FF7}"/>
              </a:ext>
            </a:extLst>
          </p:cNvPr>
          <p:cNvSpPr/>
          <p:nvPr/>
        </p:nvSpPr>
        <p:spPr>
          <a:xfrm rot="2293253">
            <a:off x="9790227" y="2827122"/>
            <a:ext cx="495140" cy="78110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88" name="Oval 187">
            <a:extLst>
              <a:ext uri="{FF2B5EF4-FFF2-40B4-BE49-F238E27FC236}">
                <a16:creationId xmlns:a16="http://schemas.microsoft.com/office/drawing/2014/main" id="{D6E5C55D-776D-98DB-4B49-71E9B5AEEEDE}"/>
              </a:ext>
            </a:extLst>
          </p:cNvPr>
          <p:cNvSpPr/>
          <p:nvPr/>
        </p:nvSpPr>
        <p:spPr>
          <a:xfrm>
            <a:off x="8278413" y="1701380"/>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89" name="TextBox 188">
            <a:extLst>
              <a:ext uri="{FF2B5EF4-FFF2-40B4-BE49-F238E27FC236}">
                <a16:creationId xmlns:a16="http://schemas.microsoft.com/office/drawing/2014/main" id="{6943560A-E2E7-7552-25CE-7F8F7315917D}"/>
              </a:ext>
            </a:extLst>
          </p:cNvPr>
          <p:cNvSpPr txBox="1"/>
          <p:nvPr/>
        </p:nvSpPr>
        <p:spPr>
          <a:xfrm>
            <a:off x="8393732" y="2023257"/>
            <a:ext cx="667170"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Comply</a:t>
            </a:r>
          </a:p>
        </p:txBody>
      </p:sp>
      <p:sp>
        <p:nvSpPr>
          <p:cNvPr id="190" name="Oval 189">
            <a:extLst>
              <a:ext uri="{FF2B5EF4-FFF2-40B4-BE49-F238E27FC236}">
                <a16:creationId xmlns:a16="http://schemas.microsoft.com/office/drawing/2014/main" id="{38BEDC3C-CBF8-271A-43C7-C8192304C69F}"/>
              </a:ext>
            </a:extLst>
          </p:cNvPr>
          <p:cNvSpPr/>
          <p:nvPr/>
        </p:nvSpPr>
        <p:spPr>
          <a:xfrm>
            <a:off x="10409173" y="470521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91" name="TextBox 190">
            <a:extLst>
              <a:ext uri="{FF2B5EF4-FFF2-40B4-BE49-F238E27FC236}">
                <a16:creationId xmlns:a16="http://schemas.microsoft.com/office/drawing/2014/main" id="{975F10D0-8A18-B20B-949C-755C17F8784B}"/>
              </a:ext>
            </a:extLst>
          </p:cNvPr>
          <p:cNvSpPr txBox="1"/>
          <p:nvPr/>
        </p:nvSpPr>
        <p:spPr>
          <a:xfrm>
            <a:off x="10576179" y="4942947"/>
            <a:ext cx="564578" cy="420756"/>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rt</a:t>
            </a:r>
          </a:p>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gent</a:t>
            </a:r>
          </a:p>
        </p:txBody>
      </p:sp>
      <p:sp>
        <p:nvSpPr>
          <p:cNvPr id="192" name="Oval 191">
            <a:extLst>
              <a:ext uri="{FF2B5EF4-FFF2-40B4-BE49-F238E27FC236}">
                <a16:creationId xmlns:a16="http://schemas.microsoft.com/office/drawing/2014/main" id="{A582F568-AFF7-C706-9DC6-39A4A5038B18}"/>
              </a:ext>
            </a:extLst>
          </p:cNvPr>
          <p:cNvSpPr/>
          <p:nvPr/>
        </p:nvSpPr>
        <p:spPr>
          <a:xfrm>
            <a:off x="7516776" y="565817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93" name="TextBox 192">
            <a:extLst>
              <a:ext uri="{FF2B5EF4-FFF2-40B4-BE49-F238E27FC236}">
                <a16:creationId xmlns:a16="http://schemas.microsoft.com/office/drawing/2014/main" id="{604B555A-4609-AEA9-36CE-6CE5B0DC549E}"/>
              </a:ext>
            </a:extLst>
          </p:cNvPr>
          <p:cNvSpPr txBox="1"/>
          <p:nvPr/>
        </p:nvSpPr>
        <p:spPr>
          <a:xfrm>
            <a:off x="7660972" y="5978887"/>
            <a:ext cx="636714"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Extract</a:t>
            </a:r>
          </a:p>
        </p:txBody>
      </p:sp>
      <p:sp>
        <p:nvSpPr>
          <p:cNvPr id="194" name="Oval 193">
            <a:extLst>
              <a:ext uri="{FF2B5EF4-FFF2-40B4-BE49-F238E27FC236}">
                <a16:creationId xmlns:a16="http://schemas.microsoft.com/office/drawing/2014/main" id="{4F2EF09F-96D5-7FAD-A947-DB972F684B67}"/>
              </a:ext>
            </a:extLst>
          </p:cNvPr>
          <p:cNvSpPr/>
          <p:nvPr/>
        </p:nvSpPr>
        <p:spPr>
          <a:xfrm>
            <a:off x="8448043" y="4495204"/>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95" name="TextBox 194">
            <a:extLst>
              <a:ext uri="{FF2B5EF4-FFF2-40B4-BE49-F238E27FC236}">
                <a16:creationId xmlns:a16="http://schemas.microsoft.com/office/drawing/2014/main" id="{186D2199-7DCD-F24D-9B4C-F764B7D5C5DC}"/>
              </a:ext>
            </a:extLst>
          </p:cNvPr>
          <p:cNvSpPr txBox="1"/>
          <p:nvPr/>
        </p:nvSpPr>
        <p:spPr>
          <a:xfrm>
            <a:off x="8538536" y="4815917"/>
            <a:ext cx="744114"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Interpret</a:t>
            </a:r>
          </a:p>
        </p:txBody>
      </p:sp>
      <p:sp>
        <p:nvSpPr>
          <p:cNvPr id="196" name="Oval 195">
            <a:extLst>
              <a:ext uri="{FF2B5EF4-FFF2-40B4-BE49-F238E27FC236}">
                <a16:creationId xmlns:a16="http://schemas.microsoft.com/office/drawing/2014/main" id="{D78C43B3-7113-97AF-DF84-621D75785053}"/>
              </a:ext>
            </a:extLst>
          </p:cNvPr>
          <p:cNvSpPr/>
          <p:nvPr/>
        </p:nvSpPr>
        <p:spPr>
          <a:xfrm>
            <a:off x="7017817" y="4200995"/>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97" name="TextBox 196">
            <a:extLst>
              <a:ext uri="{FF2B5EF4-FFF2-40B4-BE49-F238E27FC236}">
                <a16:creationId xmlns:a16="http://schemas.microsoft.com/office/drawing/2014/main" id="{5885E1BB-AB5D-EFF5-4034-975E8B454D79}"/>
              </a:ext>
            </a:extLst>
          </p:cNvPr>
          <p:cNvSpPr txBox="1"/>
          <p:nvPr/>
        </p:nvSpPr>
        <p:spPr>
          <a:xfrm>
            <a:off x="7114287" y="4463357"/>
            <a:ext cx="705642"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Content</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Library</a:t>
            </a:r>
          </a:p>
        </p:txBody>
      </p:sp>
      <p:sp>
        <p:nvSpPr>
          <p:cNvPr id="198" name="Oval 197">
            <a:extLst>
              <a:ext uri="{FF2B5EF4-FFF2-40B4-BE49-F238E27FC236}">
                <a16:creationId xmlns:a16="http://schemas.microsoft.com/office/drawing/2014/main" id="{9234E366-AA28-E245-2F7F-3963432A2396}"/>
              </a:ext>
            </a:extLst>
          </p:cNvPr>
          <p:cNvSpPr/>
          <p:nvPr/>
        </p:nvSpPr>
        <p:spPr>
          <a:xfrm>
            <a:off x="11554363" y="5526712"/>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99" name="TextBox 198">
            <a:extLst>
              <a:ext uri="{FF2B5EF4-FFF2-40B4-BE49-F238E27FC236}">
                <a16:creationId xmlns:a16="http://schemas.microsoft.com/office/drawing/2014/main" id="{B23DE332-78AE-80E1-17DE-EA0233EFE99D}"/>
              </a:ext>
            </a:extLst>
          </p:cNvPr>
          <p:cNvSpPr txBox="1"/>
          <p:nvPr/>
        </p:nvSpPr>
        <p:spPr>
          <a:xfrm>
            <a:off x="11611990" y="5866197"/>
            <a:ext cx="809838"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pprovals</a:t>
            </a:r>
          </a:p>
        </p:txBody>
      </p:sp>
      <p:sp>
        <p:nvSpPr>
          <p:cNvPr id="200" name="Oval 199">
            <a:extLst>
              <a:ext uri="{FF2B5EF4-FFF2-40B4-BE49-F238E27FC236}">
                <a16:creationId xmlns:a16="http://schemas.microsoft.com/office/drawing/2014/main" id="{9F551041-A6C8-9815-82F5-ADADAE5E5A96}"/>
              </a:ext>
            </a:extLst>
          </p:cNvPr>
          <p:cNvSpPr/>
          <p:nvPr/>
        </p:nvSpPr>
        <p:spPr>
          <a:xfrm>
            <a:off x="10919772" y="312918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01" name="TextBox 200">
            <a:extLst>
              <a:ext uri="{FF2B5EF4-FFF2-40B4-BE49-F238E27FC236}">
                <a16:creationId xmlns:a16="http://schemas.microsoft.com/office/drawing/2014/main" id="{08DD775A-A2B6-7409-D309-683C40A971FF}"/>
              </a:ext>
            </a:extLst>
          </p:cNvPr>
          <p:cNvSpPr txBox="1"/>
          <p:nvPr/>
        </p:nvSpPr>
        <p:spPr>
          <a:xfrm>
            <a:off x="11059524" y="3462873"/>
            <a:ext cx="619080"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Viewer</a:t>
            </a:r>
          </a:p>
        </p:txBody>
      </p:sp>
      <p:sp>
        <p:nvSpPr>
          <p:cNvPr id="202" name="Oval 201">
            <a:extLst>
              <a:ext uri="{FF2B5EF4-FFF2-40B4-BE49-F238E27FC236}">
                <a16:creationId xmlns:a16="http://schemas.microsoft.com/office/drawing/2014/main" id="{69905140-8206-58E5-1138-6E133DB94063}"/>
              </a:ext>
            </a:extLst>
          </p:cNvPr>
          <p:cNvSpPr/>
          <p:nvPr/>
        </p:nvSpPr>
        <p:spPr>
          <a:xfrm>
            <a:off x="9470721" y="3386412"/>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03" name="TextBox 202">
            <a:extLst>
              <a:ext uri="{FF2B5EF4-FFF2-40B4-BE49-F238E27FC236}">
                <a16:creationId xmlns:a16="http://schemas.microsoft.com/office/drawing/2014/main" id="{9E23FA77-11F6-143B-0E44-7EE5E17E8B88}"/>
              </a:ext>
            </a:extLst>
          </p:cNvPr>
          <p:cNvSpPr txBox="1"/>
          <p:nvPr/>
        </p:nvSpPr>
        <p:spPr>
          <a:xfrm>
            <a:off x="9529946" y="3627163"/>
            <a:ext cx="780984"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Art</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Workflow</a:t>
            </a:r>
          </a:p>
        </p:txBody>
      </p:sp>
      <p:sp>
        <p:nvSpPr>
          <p:cNvPr id="204" name="Oval 203">
            <a:extLst>
              <a:ext uri="{FF2B5EF4-FFF2-40B4-BE49-F238E27FC236}">
                <a16:creationId xmlns:a16="http://schemas.microsoft.com/office/drawing/2014/main" id="{E10D2E34-ECF6-C906-3D88-D99FBE833C53}"/>
              </a:ext>
            </a:extLst>
          </p:cNvPr>
          <p:cNvSpPr/>
          <p:nvPr/>
        </p:nvSpPr>
        <p:spPr>
          <a:xfrm>
            <a:off x="6492931" y="2840119"/>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05" name="TextBox 204">
            <a:extLst>
              <a:ext uri="{FF2B5EF4-FFF2-40B4-BE49-F238E27FC236}">
                <a16:creationId xmlns:a16="http://schemas.microsoft.com/office/drawing/2014/main" id="{5C0AF2BF-E7A3-D262-4D0E-26FF7FCA2242}"/>
              </a:ext>
            </a:extLst>
          </p:cNvPr>
          <p:cNvSpPr txBox="1"/>
          <p:nvPr/>
        </p:nvSpPr>
        <p:spPr>
          <a:xfrm>
            <a:off x="6552255" y="3074467"/>
            <a:ext cx="780984"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Copy</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Workflow</a:t>
            </a:r>
          </a:p>
        </p:txBody>
      </p:sp>
      <p:sp>
        <p:nvSpPr>
          <p:cNvPr id="206" name="Oval 205">
            <a:extLst>
              <a:ext uri="{FF2B5EF4-FFF2-40B4-BE49-F238E27FC236}">
                <a16:creationId xmlns:a16="http://schemas.microsoft.com/office/drawing/2014/main" id="{321D1DF6-11EE-9E75-6C44-A36E66B30976}"/>
              </a:ext>
            </a:extLst>
          </p:cNvPr>
          <p:cNvSpPr/>
          <p:nvPr/>
        </p:nvSpPr>
        <p:spPr>
          <a:xfrm>
            <a:off x="7981944" y="298773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07" name="TextBox 206">
            <a:extLst>
              <a:ext uri="{FF2B5EF4-FFF2-40B4-BE49-F238E27FC236}">
                <a16:creationId xmlns:a16="http://schemas.microsoft.com/office/drawing/2014/main" id="{D0DF93A2-CB22-B982-1CE6-56BA4F5CE2E4}"/>
              </a:ext>
            </a:extLst>
          </p:cNvPr>
          <p:cNvSpPr txBox="1"/>
          <p:nvPr/>
        </p:nvSpPr>
        <p:spPr>
          <a:xfrm>
            <a:off x="7997466" y="3251251"/>
            <a:ext cx="867545" cy="420756"/>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Regulation</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Tech</a:t>
            </a:r>
          </a:p>
        </p:txBody>
      </p:sp>
      <p:sp>
        <p:nvSpPr>
          <p:cNvPr id="208" name="Oval 207">
            <a:extLst>
              <a:ext uri="{FF2B5EF4-FFF2-40B4-BE49-F238E27FC236}">
                <a16:creationId xmlns:a16="http://schemas.microsoft.com/office/drawing/2014/main" id="{88FE7606-4606-1E9A-D646-6DD820D3764B}"/>
              </a:ext>
            </a:extLst>
          </p:cNvPr>
          <p:cNvSpPr/>
          <p:nvPr/>
        </p:nvSpPr>
        <p:spPr>
          <a:xfrm>
            <a:off x="11286484" y="1567656"/>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09" name="TextBox 208">
            <a:extLst>
              <a:ext uri="{FF2B5EF4-FFF2-40B4-BE49-F238E27FC236}">
                <a16:creationId xmlns:a16="http://schemas.microsoft.com/office/drawing/2014/main" id="{4CCD5056-CA88-7B9D-DACF-8BC4E1B47B1E}"/>
              </a:ext>
            </a:extLst>
          </p:cNvPr>
          <p:cNvSpPr txBox="1"/>
          <p:nvPr/>
        </p:nvSpPr>
        <p:spPr>
          <a:xfrm>
            <a:off x="11424638" y="1897433"/>
            <a:ext cx="622286"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err="1">
                <a:solidFill>
                  <a:srgbClr val="FFFFFF"/>
                </a:solidFill>
                <a:latin typeface="TT Commons Pro" panose="020B0103030102020204" pitchFamily="34" charset="77"/>
                <a:ea typeface="ＭＳ Ｐゴシック" charset="-128"/>
              </a:rPr>
              <a:t>Dieline</a:t>
            </a:r>
            <a:endParaRPr lang="en-US" sz="1067" b="1">
              <a:solidFill>
                <a:srgbClr val="FFFFFF"/>
              </a:solidFill>
              <a:latin typeface="TT Commons Pro" panose="020B0103030102020204" pitchFamily="34" charset="77"/>
              <a:ea typeface="ＭＳ Ｐゴシック" charset="-128"/>
            </a:endParaRPr>
          </a:p>
        </p:txBody>
      </p:sp>
      <p:sp>
        <p:nvSpPr>
          <p:cNvPr id="210" name="Oval 209">
            <a:extLst>
              <a:ext uri="{FF2B5EF4-FFF2-40B4-BE49-F238E27FC236}">
                <a16:creationId xmlns:a16="http://schemas.microsoft.com/office/drawing/2014/main" id="{5FCC2EF3-3226-D5B8-D77E-1F26A290D8F4}"/>
              </a:ext>
            </a:extLst>
          </p:cNvPr>
          <p:cNvSpPr/>
          <p:nvPr/>
        </p:nvSpPr>
        <p:spPr>
          <a:xfrm>
            <a:off x="13805875" y="3813701"/>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11" name="TextBox 210">
            <a:extLst>
              <a:ext uri="{FF2B5EF4-FFF2-40B4-BE49-F238E27FC236}">
                <a16:creationId xmlns:a16="http://schemas.microsoft.com/office/drawing/2014/main" id="{B34CFB1F-25FF-D67B-D60E-ABA403006ADA}"/>
              </a:ext>
            </a:extLst>
          </p:cNvPr>
          <p:cNvSpPr txBox="1"/>
          <p:nvPr/>
        </p:nvSpPr>
        <p:spPr>
          <a:xfrm>
            <a:off x="13876953" y="4154926"/>
            <a:ext cx="792205"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Pre-press</a:t>
            </a:r>
          </a:p>
        </p:txBody>
      </p:sp>
      <p:sp>
        <p:nvSpPr>
          <p:cNvPr id="212" name="Oval 211">
            <a:extLst>
              <a:ext uri="{FF2B5EF4-FFF2-40B4-BE49-F238E27FC236}">
                <a16:creationId xmlns:a16="http://schemas.microsoft.com/office/drawing/2014/main" id="{3900A861-1081-309B-6850-F7F393A9AC68}"/>
              </a:ext>
            </a:extLst>
          </p:cNvPr>
          <p:cNvSpPr/>
          <p:nvPr/>
        </p:nvSpPr>
        <p:spPr>
          <a:xfrm>
            <a:off x="9386595" y="5759501"/>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13" name="TextBox 212">
            <a:extLst>
              <a:ext uri="{FF2B5EF4-FFF2-40B4-BE49-F238E27FC236}">
                <a16:creationId xmlns:a16="http://schemas.microsoft.com/office/drawing/2014/main" id="{330AF02C-DCA7-66F9-1DED-43FF4C58EC76}"/>
              </a:ext>
            </a:extLst>
          </p:cNvPr>
          <p:cNvSpPr txBox="1"/>
          <p:nvPr/>
        </p:nvSpPr>
        <p:spPr>
          <a:xfrm>
            <a:off x="9583681" y="6088295"/>
            <a:ext cx="530916"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sset</a:t>
            </a:r>
          </a:p>
        </p:txBody>
      </p:sp>
      <p:sp>
        <p:nvSpPr>
          <p:cNvPr id="214" name="Freeform 213">
            <a:extLst>
              <a:ext uri="{FF2B5EF4-FFF2-40B4-BE49-F238E27FC236}">
                <a16:creationId xmlns:a16="http://schemas.microsoft.com/office/drawing/2014/main" id="{529D0D49-9A67-2F1F-1F11-1F4A6129A2A2}"/>
              </a:ext>
            </a:extLst>
          </p:cNvPr>
          <p:cNvSpPr/>
          <p:nvPr/>
        </p:nvSpPr>
        <p:spPr>
          <a:xfrm rot="20426043">
            <a:off x="12084280" y="2287751"/>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215" name="Oval 214">
            <a:extLst>
              <a:ext uri="{FF2B5EF4-FFF2-40B4-BE49-F238E27FC236}">
                <a16:creationId xmlns:a16="http://schemas.microsoft.com/office/drawing/2014/main" id="{6C527C10-8AF8-3D64-2434-41118E66A8B6}"/>
              </a:ext>
            </a:extLst>
          </p:cNvPr>
          <p:cNvSpPr/>
          <p:nvPr/>
        </p:nvSpPr>
        <p:spPr>
          <a:xfrm>
            <a:off x="12071349" y="409236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16" name="TextBox 215">
            <a:extLst>
              <a:ext uri="{FF2B5EF4-FFF2-40B4-BE49-F238E27FC236}">
                <a16:creationId xmlns:a16="http://schemas.microsoft.com/office/drawing/2014/main" id="{AA0A018D-4B9F-9E08-805B-5BBE64B8862F}"/>
              </a:ext>
            </a:extLst>
          </p:cNvPr>
          <p:cNvSpPr txBox="1"/>
          <p:nvPr/>
        </p:nvSpPr>
        <p:spPr>
          <a:xfrm>
            <a:off x="12138049" y="4351211"/>
            <a:ext cx="793807"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Pre-press</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Workflow</a:t>
            </a:r>
          </a:p>
        </p:txBody>
      </p:sp>
      <p:sp>
        <p:nvSpPr>
          <p:cNvPr id="217" name="Oval 216">
            <a:extLst>
              <a:ext uri="{FF2B5EF4-FFF2-40B4-BE49-F238E27FC236}">
                <a16:creationId xmlns:a16="http://schemas.microsoft.com/office/drawing/2014/main" id="{87AF3D67-5680-DCDA-AA9D-C8336B03B829}"/>
              </a:ext>
            </a:extLst>
          </p:cNvPr>
          <p:cNvSpPr/>
          <p:nvPr/>
        </p:nvSpPr>
        <p:spPr>
          <a:xfrm>
            <a:off x="13778481" y="2267155"/>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18" name="TextBox 217">
            <a:extLst>
              <a:ext uri="{FF2B5EF4-FFF2-40B4-BE49-F238E27FC236}">
                <a16:creationId xmlns:a16="http://schemas.microsoft.com/office/drawing/2014/main" id="{8A5B27D1-91B4-E94D-C547-CEB55126901C}"/>
              </a:ext>
            </a:extLst>
          </p:cNvPr>
          <p:cNvSpPr txBox="1"/>
          <p:nvPr/>
        </p:nvSpPr>
        <p:spPr>
          <a:xfrm>
            <a:off x="13975571" y="2601082"/>
            <a:ext cx="530915"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Color</a:t>
            </a:r>
          </a:p>
        </p:txBody>
      </p:sp>
      <p:sp>
        <p:nvSpPr>
          <p:cNvPr id="219" name="Oval 218">
            <a:extLst>
              <a:ext uri="{FF2B5EF4-FFF2-40B4-BE49-F238E27FC236}">
                <a16:creationId xmlns:a16="http://schemas.microsoft.com/office/drawing/2014/main" id="{4F877BFC-01AA-779A-71E0-689E4532C551}"/>
              </a:ext>
            </a:extLst>
          </p:cNvPr>
          <p:cNvSpPr/>
          <p:nvPr/>
        </p:nvSpPr>
        <p:spPr>
          <a:xfrm>
            <a:off x="5524477" y="4004215"/>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20" name="TextBox 219">
            <a:extLst>
              <a:ext uri="{FF2B5EF4-FFF2-40B4-BE49-F238E27FC236}">
                <a16:creationId xmlns:a16="http://schemas.microsoft.com/office/drawing/2014/main" id="{B650D7B4-64F8-C1E0-E613-43F1A378C0C8}"/>
              </a:ext>
            </a:extLst>
          </p:cNvPr>
          <p:cNvSpPr txBox="1"/>
          <p:nvPr/>
        </p:nvSpPr>
        <p:spPr>
          <a:xfrm>
            <a:off x="5568853" y="4330447"/>
            <a:ext cx="809838"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pprovals</a:t>
            </a:r>
          </a:p>
        </p:txBody>
      </p:sp>
      <p:sp>
        <p:nvSpPr>
          <p:cNvPr id="221" name="Oval 220">
            <a:extLst>
              <a:ext uri="{FF2B5EF4-FFF2-40B4-BE49-F238E27FC236}">
                <a16:creationId xmlns:a16="http://schemas.microsoft.com/office/drawing/2014/main" id="{1F09547C-1391-BB3F-4730-0F6EE291D379}"/>
              </a:ext>
            </a:extLst>
          </p:cNvPr>
          <p:cNvSpPr/>
          <p:nvPr/>
        </p:nvSpPr>
        <p:spPr>
          <a:xfrm>
            <a:off x="9772433" y="2003639"/>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222" name="TextBox 221">
            <a:extLst>
              <a:ext uri="{FF2B5EF4-FFF2-40B4-BE49-F238E27FC236}">
                <a16:creationId xmlns:a16="http://schemas.microsoft.com/office/drawing/2014/main" id="{5376B5EE-81F1-B3A7-534A-1C9BFB1313F0}"/>
              </a:ext>
            </a:extLst>
          </p:cNvPr>
          <p:cNvSpPr txBox="1"/>
          <p:nvPr/>
        </p:nvSpPr>
        <p:spPr>
          <a:xfrm>
            <a:off x="9815406" y="2317670"/>
            <a:ext cx="829074"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err="1">
                <a:solidFill>
                  <a:srgbClr val="FFFFFF"/>
                </a:solidFill>
                <a:latin typeface="TT Commons Pro" panose="020B0103030102020204" pitchFamily="34" charset="77"/>
                <a:ea typeface="ＭＳ Ｐゴシック" charset="-128"/>
              </a:rPr>
              <a:t>Packshots</a:t>
            </a:r>
            <a:endParaRPr lang="en-US" sz="1067" b="1">
              <a:solidFill>
                <a:srgbClr val="FFFFFF"/>
              </a:solidFill>
              <a:latin typeface="TT Commons Pro" panose="020B0103030102020204" pitchFamily="34" charset="77"/>
              <a:ea typeface="ＭＳ Ｐゴシック" charset="-128"/>
            </a:endParaRPr>
          </a:p>
        </p:txBody>
      </p:sp>
    </p:spTree>
    <p:extLst>
      <p:ext uri="{BB962C8B-B14F-4D97-AF65-F5344CB8AC3E}">
        <p14:creationId xmlns:p14="http://schemas.microsoft.com/office/powerpoint/2010/main" val="16749061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636A4-EF0F-FEF2-25F3-AFD02BC1DA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BD314E-B0F5-9D3D-5710-19C1A4B5BB4F}"/>
              </a:ext>
            </a:extLst>
          </p:cNvPr>
          <p:cNvSpPr>
            <a:spLocks noGrp="1"/>
          </p:cNvSpPr>
          <p:nvPr>
            <p:ph type="title"/>
          </p:nvPr>
        </p:nvSpPr>
        <p:spPr>
          <a:xfrm>
            <a:off x="365125" y="386244"/>
            <a:ext cx="11461751" cy="845328"/>
          </a:xfrm>
        </p:spPr>
        <p:txBody>
          <a:bodyPr/>
          <a:lstStyle/>
          <a:p>
            <a:r>
              <a:rPr lang="en-US" sz="4800"/>
              <a:t>Foundations for the Next Era </a:t>
            </a:r>
          </a:p>
        </p:txBody>
      </p:sp>
      <p:sp>
        <p:nvSpPr>
          <p:cNvPr id="18" name="Content Placeholder 2">
            <a:extLst>
              <a:ext uri="{FF2B5EF4-FFF2-40B4-BE49-F238E27FC236}">
                <a16:creationId xmlns:a16="http://schemas.microsoft.com/office/drawing/2014/main" id="{390964A6-61AF-FF11-85BD-215B5C6D2D5B}"/>
              </a:ext>
            </a:extLst>
          </p:cNvPr>
          <p:cNvSpPr txBox="1">
            <a:spLocks/>
          </p:cNvSpPr>
          <p:nvPr/>
        </p:nvSpPr>
        <p:spPr>
          <a:xfrm>
            <a:off x="365125" y="1622612"/>
            <a:ext cx="4940326" cy="4731107"/>
          </a:xfrm>
          <a:prstGeom prst="rect">
            <a:avLst/>
          </a:prstGeom>
        </p:spPr>
        <p:txBody>
          <a:bodyPr vert="horz" lIns="121920" tIns="60960" rIns="121920" bIns="60960" rtlCol="0">
            <a:normAutofit/>
          </a:bodyPr>
          <a:lstStyle>
            <a:lvl1pPr marL="228600" indent="-228600" algn="l" defTabSz="685800" rtl="0" eaLnBrk="1" latinLnBrk="0" hangingPunct="1">
              <a:lnSpc>
                <a:spcPct val="100000"/>
              </a:lnSpc>
              <a:spcBef>
                <a:spcPts val="750"/>
              </a:spcBef>
              <a:buFontTx/>
              <a:buBlip>
                <a:blip r:embed="rId3"/>
              </a:buBlip>
              <a:tabLst/>
              <a:defRPr sz="1600" b="0" i="0" kern="1200">
                <a:solidFill>
                  <a:schemeClr val="tx1"/>
                </a:solidFill>
                <a:latin typeface="TT Commons Pro Light" panose="020B0103030102020204" pitchFamily="34" charset="77"/>
                <a:ea typeface="+mn-ea"/>
                <a:cs typeface="Arial" panose="020B0604020202020204" pitchFamily="34" charset="0"/>
              </a:defRPr>
            </a:lvl1pPr>
            <a:lvl2pPr marL="457200" indent="-228600" algn="l" defTabSz="685800" rtl="0" eaLnBrk="1" latinLnBrk="0" hangingPunct="1">
              <a:lnSpc>
                <a:spcPct val="100000"/>
              </a:lnSpc>
              <a:spcBef>
                <a:spcPts val="375"/>
              </a:spcBef>
              <a:buClr>
                <a:schemeClr val="tx1"/>
              </a:buClr>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2pPr>
            <a:lvl3pPr marL="685800" indent="-228600" algn="l" defTabSz="685800" rtl="0" eaLnBrk="1" latinLnBrk="0" hangingPunct="1">
              <a:lnSpc>
                <a:spcPct val="100000"/>
              </a:lnSpc>
              <a:spcBef>
                <a:spcPts val="375"/>
              </a:spcBef>
              <a:buClr>
                <a:schemeClr val="accent1"/>
              </a:buClr>
              <a:buFont typeface="Wingdings" pitchFamily="2" charset="2"/>
              <a:buChar char="§"/>
              <a:tabLst/>
              <a:defRPr sz="1400" b="0" i="0" kern="1200">
                <a:solidFill>
                  <a:schemeClr val="tx1"/>
                </a:solidFill>
                <a:latin typeface="TT Commons Pro Light" panose="020B0103030102020204" pitchFamily="34" charset="77"/>
                <a:ea typeface="+mn-ea"/>
                <a:cs typeface="Arial" panose="020B0604020202020204" pitchFamily="34" charset="0"/>
              </a:defRPr>
            </a:lvl3pPr>
            <a:lvl4pPr marL="914400" indent="-228600" algn="l" defTabSz="685800" rtl="0" eaLnBrk="1" latinLnBrk="0" hangingPunct="1">
              <a:lnSpc>
                <a:spcPct val="100000"/>
              </a:lnSpc>
              <a:spcBef>
                <a:spcPts val="375"/>
              </a:spcBef>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4pPr>
            <a:lvl5pPr marL="1087438" indent="-173038" algn="l" defTabSz="685800" rtl="0" eaLnBrk="1" latinLnBrk="0" hangingPunct="1">
              <a:lnSpc>
                <a:spcPct val="100000"/>
              </a:lnSpc>
              <a:spcBef>
                <a:spcPts val="375"/>
              </a:spcBef>
              <a:buClr>
                <a:schemeClr val="accent1"/>
              </a:buClr>
              <a:buFont typeface="Arial" panose="020B0604020202020204" pitchFamily="34" charset="0"/>
              <a:buChar char="•"/>
              <a:tabLst/>
              <a:defRPr sz="1400" b="0" i="0" kern="1200">
                <a:solidFill>
                  <a:schemeClr val="tx1"/>
                </a:solidFill>
                <a:latin typeface="TT Commons Pro Light" panose="020B0103030102020204" pitchFamily="34" charset="77"/>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377" fontAlgn="base">
              <a:spcBef>
                <a:spcPts val="1000"/>
              </a:spcBef>
              <a:spcAft>
                <a:spcPct val="0"/>
              </a:spcAft>
              <a:buNone/>
            </a:pPr>
            <a:r>
              <a:rPr lang="en-US" sz="1867">
                <a:solidFill>
                  <a:srgbClr val="FFFFFF"/>
                </a:solidFill>
              </a:rPr>
              <a:t>Connected execution achieves: </a:t>
            </a:r>
          </a:p>
          <a:p>
            <a:pPr marL="304792" indent="-304792" defTabSz="914377" fontAlgn="base">
              <a:spcBef>
                <a:spcPts val="1000"/>
              </a:spcBef>
              <a:spcAft>
                <a:spcPct val="0"/>
              </a:spcAft>
            </a:pPr>
            <a:r>
              <a:rPr lang="en-US" sz="1867">
                <a:solidFill>
                  <a:srgbClr val="FFFFFF"/>
                </a:solidFill>
              </a:rPr>
              <a:t>Faster speed</a:t>
            </a:r>
          </a:p>
          <a:p>
            <a:pPr marL="304792" indent="-304792" defTabSz="914377" fontAlgn="base">
              <a:spcBef>
                <a:spcPts val="1000"/>
              </a:spcBef>
              <a:spcAft>
                <a:spcPct val="0"/>
              </a:spcAft>
            </a:pPr>
            <a:r>
              <a:rPr lang="en-US" sz="1867">
                <a:solidFill>
                  <a:srgbClr val="FFFFFF"/>
                </a:solidFill>
              </a:rPr>
              <a:t>Higher quality &amp; compliance</a:t>
            </a:r>
          </a:p>
          <a:p>
            <a:pPr marL="304792" indent="-304792" defTabSz="914377" fontAlgn="base">
              <a:spcBef>
                <a:spcPts val="1000"/>
              </a:spcBef>
              <a:spcAft>
                <a:spcPct val="0"/>
              </a:spcAft>
            </a:pPr>
            <a:r>
              <a:rPr lang="en-US" sz="1867">
                <a:solidFill>
                  <a:srgbClr val="FFFFFF"/>
                </a:solidFill>
              </a:rPr>
              <a:t>Cost reduction</a:t>
            </a:r>
          </a:p>
          <a:p>
            <a:pPr marL="0" indent="0" defTabSz="914377" fontAlgn="base">
              <a:spcBef>
                <a:spcPts val="1000"/>
              </a:spcBef>
              <a:spcAft>
                <a:spcPct val="0"/>
              </a:spcAft>
              <a:buNone/>
            </a:pPr>
            <a:endParaRPr lang="en-US" sz="1867">
              <a:solidFill>
                <a:srgbClr val="FFFFFF"/>
              </a:solidFill>
            </a:endParaRPr>
          </a:p>
          <a:p>
            <a:pPr marL="0" indent="0" defTabSz="914377" fontAlgn="base">
              <a:spcBef>
                <a:spcPts val="1000"/>
              </a:spcBef>
              <a:spcAft>
                <a:spcPct val="0"/>
              </a:spcAft>
              <a:buNone/>
            </a:pPr>
            <a:r>
              <a:rPr lang="en-US" sz="1867" b="1">
                <a:solidFill>
                  <a:srgbClr val="FFFFFF"/>
                </a:solidFill>
                <a:latin typeface="TT Commons Pro" panose="020B0103030102020204" pitchFamily="34" charset="77"/>
              </a:rPr>
              <a:t>This is the foundation for AI-embedded packaging workflows and greater operational efficiencies </a:t>
            </a:r>
          </a:p>
        </p:txBody>
      </p:sp>
      <p:sp>
        <p:nvSpPr>
          <p:cNvPr id="86" name="Freeform 85">
            <a:extLst>
              <a:ext uri="{FF2B5EF4-FFF2-40B4-BE49-F238E27FC236}">
                <a16:creationId xmlns:a16="http://schemas.microsoft.com/office/drawing/2014/main" id="{F9C8AB84-104B-D515-19AC-7C63D998DBBC}"/>
              </a:ext>
            </a:extLst>
          </p:cNvPr>
          <p:cNvSpPr/>
          <p:nvPr/>
        </p:nvSpPr>
        <p:spPr>
          <a:xfrm rot="20130394">
            <a:off x="9083797" y="2308245"/>
            <a:ext cx="464371" cy="144932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87" name="Freeform 86">
            <a:extLst>
              <a:ext uri="{FF2B5EF4-FFF2-40B4-BE49-F238E27FC236}">
                <a16:creationId xmlns:a16="http://schemas.microsoft.com/office/drawing/2014/main" id="{5613E5B8-2F5E-9691-2457-9639A7F4F90C}"/>
              </a:ext>
            </a:extLst>
          </p:cNvPr>
          <p:cNvSpPr/>
          <p:nvPr/>
        </p:nvSpPr>
        <p:spPr>
          <a:xfrm rot="2502535">
            <a:off x="8329348" y="2580266"/>
            <a:ext cx="435483" cy="45158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88" name="Freeform 87">
            <a:extLst>
              <a:ext uri="{FF2B5EF4-FFF2-40B4-BE49-F238E27FC236}">
                <a16:creationId xmlns:a16="http://schemas.microsoft.com/office/drawing/2014/main" id="{77FC9140-AEFD-5E12-DD6E-4DA5AF370E93}"/>
              </a:ext>
            </a:extLst>
          </p:cNvPr>
          <p:cNvSpPr/>
          <p:nvPr/>
        </p:nvSpPr>
        <p:spPr>
          <a:xfrm rot="18146750">
            <a:off x="7429839" y="3079336"/>
            <a:ext cx="502447" cy="64178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89" name="Freeform 88">
            <a:extLst>
              <a:ext uri="{FF2B5EF4-FFF2-40B4-BE49-F238E27FC236}">
                <a16:creationId xmlns:a16="http://schemas.microsoft.com/office/drawing/2014/main" id="{69C64C8D-CC44-DEA1-FB74-F82769B07755}"/>
              </a:ext>
            </a:extLst>
          </p:cNvPr>
          <p:cNvSpPr/>
          <p:nvPr/>
        </p:nvSpPr>
        <p:spPr>
          <a:xfrm rot="3863213">
            <a:off x="6157459" y="3543682"/>
            <a:ext cx="553464" cy="64884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90" name="Freeform 89">
            <a:extLst>
              <a:ext uri="{FF2B5EF4-FFF2-40B4-BE49-F238E27FC236}">
                <a16:creationId xmlns:a16="http://schemas.microsoft.com/office/drawing/2014/main" id="{40DE2640-69CC-9B40-50BF-B7AFD5048AB9}"/>
              </a:ext>
            </a:extLst>
          </p:cNvPr>
          <p:cNvSpPr/>
          <p:nvPr/>
        </p:nvSpPr>
        <p:spPr>
          <a:xfrm rot="2227833">
            <a:off x="10828706" y="3883579"/>
            <a:ext cx="549983" cy="93996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91" name="Freeform 90">
            <a:extLst>
              <a:ext uri="{FF2B5EF4-FFF2-40B4-BE49-F238E27FC236}">
                <a16:creationId xmlns:a16="http://schemas.microsoft.com/office/drawing/2014/main" id="{B3B332A6-F2E8-A4B1-635E-B39D8AD9A093}"/>
              </a:ext>
            </a:extLst>
          </p:cNvPr>
          <p:cNvSpPr/>
          <p:nvPr/>
        </p:nvSpPr>
        <p:spPr>
          <a:xfrm>
            <a:off x="6933238" y="3703879"/>
            <a:ext cx="454181" cy="605912"/>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92" name="Freeform 91">
            <a:extLst>
              <a:ext uri="{FF2B5EF4-FFF2-40B4-BE49-F238E27FC236}">
                <a16:creationId xmlns:a16="http://schemas.microsoft.com/office/drawing/2014/main" id="{340FAA03-0952-EB2A-F336-A7FE46062EC2}"/>
              </a:ext>
            </a:extLst>
          </p:cNvPr>
          <p:cNvSpPr/>
          <p:nvPr/>
        </p:nvSpPr>
        <p:spPr>
          <a:xfrm rot="3799550">
            <a:off x="7706766" y="3684175"/>
            <a:ext cx="495140" cy="74812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93" name="Freeform 92">
            <a:extLst>
              <a:ext uri="{FF2B5EF4-FFF2-40B4-BE49-F238E27FC236}">
                <a16:creationId xmlns:a16="http://schemas.microsoft.com/office/drawing/2014/main" id="{98FB3B11-CE79-C29D-60C8-5719741D40AC}"/>
              </a:ext>
            </a:extLst>
          </p:cNvPr>
          <p:cNvSpPr/>
          <p:nvPr/>
        </p:nvSpPr>
        <p:spPr>
          <a:xfrm rot="7522462">
            <a:off x="7931858" y="4511337"/>
            <a:ext cx="495140" cy="64328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94" name="Freeform 93">
            <a:extLst>
              <a:ext uri="{FF2B5EF4-FFF2-40B4-BE49-F238E27FC236}">
                <a16:creationId xmlns:a16="http://schemas.microsoft.com/office/drawing/2014/main" id="{DE7E7759-0009-70E7-44C2-5CCEF0DA48AE}"/>
              </a:ext>
            </a:extLst>
          </p:cNvPr>
          <p:cNvSpPr/>
          <p:nvPr/>
        </p:nvSpPr>
        <p:spPr>
          <a:xfrm rot="3749002">
            <a:off x="8217661" y="5213555"/>
            <a:ext cx="483104" cy="65938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95" name="Freeform 94">
            <a:extLst>
              <a:ext uri="{FF2B5EF4-FFF2-40B4-BE49-F238E27FC236}">
                <a16:creationId xmlns:a16="http://schemas.microsoft.com/office/drawing/2014/main" id="{7150D502-15E4-96D7-D063-50F5279AB888}"/>
              </a:ext>
            </a:extLst>
          </p:cNvPr>
          <p:cNvSpPr/>
          <p:nvPr/>
        </p:nvSpPr>
        <p:spPr>
          <a:xfrm rot="3749002">
            <a:off x="9152841" y="4070937"/>
            <a:ext cx="495140" cy="78110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96" name="Freeform 95">
            <a:extLst>
              <a:ext uri="{FF2B5EF4-FFF2-40B4-BE49-F238E27FC236}">
                <a16:creationId xmlns:a16="http://schemas.microsoft.com/office/drawing/2014/main" id="{3CD759E9-43B1-4582-A6BD-5FBDB7ECACFD}"/>
              </a:ext>
            </a:extLst>
          </p:cNvPr>
          <p:cNvSpPr/>
          <p:nvPr/>
        </p:nvSpPr>
        <p:spPr>
          <a:xfrm rot="7842889">
            <a:off x="8893862" y="3345431"/>
            <a:ext cx="495140" cy="737263"/>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97" name="Freeform 96">
            <a:extLst>
              <a:ext uri="{FF2B5EF4-FFF2-40B4-BE49-F238E27FC236}">
                <a16:creationId xmlns:a16="http://schemas.microsoft.com/office/drawing/2014/main" id="{F3AF4427-E332-F9FD-1C87-938B825BF046}"/>
              </a:ext>
            </a:extLst>
          </p:cNvPr>
          <p:cNvSpPr/>
          <p:nvPr/>
        </p:nvSpPr>
        <p:spPr>
          <a:xfrm rot="6772742">
            <a:off x="9592902" y="4479169"/>
            <a:ext cx="549983" cy="1223432"/>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06288 w 396235"/>
              <a:gd name="csY5" fmla="*/ 271274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06288 w 396235"/>
              <a:gd name="csY5" fmla="*/ 271274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99322" y="315563"/>
                  <a:pt x="106288" y="271274"/>
                </a:cubicBezTo>
                <a:cubicBezTo>
                  <a:pt x="161306" y="175313"/>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98" name="Freeform 97">
            <a:extLst>
              <a:ext uri="{FF2B5EF4-FFF2-40B4-BE49-F238E27FC236}">
                <a16:creationId xmlns:a16="http://schemas.microsoft.com/office/drawing/2014/main" id="{9C92C082-FB30-21C0-546E-5289AE152A8C}"/>
              </a:ext>
            </a:extLst>
          </p:cNvPr>
          <p:cNvSpPr/>
          <p:nvPr/>
        </p:nvSpPr>
        <p:spPr>
          <a:xfrm rot="9313239">
            <a:off x="11134090" y="5395228"/>
            <a:ext cx="522708" cy="46909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99" name="Freeform 98">
            <a:extLst>
              <a:ext uri="{FF2B5EF4-FFF2-40B4-BE49-F238E27FC236}">
                <a16:creationId xmlns:a16="http://schemas.microsoft.com/office/drawing/2014/main" id="{9EDE3F26-501F-825B-6367-341F5F199488}"/>
              </a:ext>
            </a:extLst>
          </p:cNvPr>
          <p:cNvSpPr/>
          <p:nvPr/>
        </p:nvSpPr>
        <p:spPr>
          <a:xfrm rot="21028927">
            <a:off x="10098417" y="4083786"/>
            <a:ext cx="563707" cy="820119"/>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56811"/>
              <a:gd name="csX1" fmla="*/ 149648 w 396235"/>
              <a:gd name="csY1" fmla="*/ 0 h 556811"/>
              <a:gd name="csX2" fmla="*/ 225303 w 396235"/>
              <a:gd name="csY2" fmla="*/ 241678 h 556811"/>
              <a:gd name="csX3" fmla="*/ 396235 w 396235"/>
              <a:gd name="csY3" fmla="*/ 484573 h 556811"/>
              <a:gd name="csX4" fmla="*/ 226175 w 396235"/>
              <a:gd name="csY4" fmla="*/ 556811 h 556811"/>
              <a:gd name="csX5" fmla="*/ 117353 w 396235"/>
              <a:gd name="csY5" fmla="*/ 295653 h 556811"/>
              <a:gd name="csX6" fmla="*/ 0 w 396235"/>
              <a:gd name="csY6" fmla="*/ 30397 h 556811"/>
              <a:gd name="csX0" fmla="*/ 0 w 396235"/>
              <a:gd name="csY0" fmla="*/ 30397 h 556811"/>
              <a:gd name="csX1" fmla="*/ 149648 w 396235"/>
              <a:gd name="csY1" fmla="*/ 0 h 556811"/>
              <a:gd name="csX2" fmla="*/ 225303 w 396235"/>
              <a:gd name="csY2" fmla="*/ 241678 h 556811"/>
              <a:gd name="csX3" fmla="*/ 396235 w 396235"/>
              <a:gd name="csY3" fmla="*/ 484573 h 556811"/>
              <a:gd name="csX4" fmla="*/ 226175 w 396235"/>
              <a:gd name="csY4" fmla="*/ 556811 h 556811"/>
              <a:gd name="csX5" fmla="*/ 117353 w 396235"/>
              <a:gd name="csY5" fmla="*/ 295653 h 556811"/>
              <a:gd name="csX6" fmla="*/ 0 w 396235"/>
              <a:gd name="csY6" fmla="*/ 30397 h 556811"/>
              <a:gd name="csX0" fmla="*/ 0 w 406123"/>
              <a:gd name="csY0" fmla="*/ 71756 h 556811"/>
              <a:gd name="csX1" fmla="*/ 159536 w 406123"/>
              <a:gd name="csY1" fmla="*/ 0 h 556811"/>
              <a:gd name="csX2" fmla="*/ 235191 w 406123"/>
              <a:gd name="csY2" fmla="*/ 241678 h 556811"/>
              <a:gd name="csX3" fmla="*/ 406123 w 406123"/>
              <a:gd name="csY3" fmla="*/ 484573 h 556811"/>
              <a:gd name="csX4" fmla="*/ 236063 w 406123"/>
              <a:gd name="csY4" fmla="*/ 556811 h 556811"/>
              <a:gd name="csX5" fmla="*/ 127241 w 406123"/>
              <a:gd name="csY5" fmla="*/ 295653 h 556811"/>
              <a:gd name="csX6" fmla="*/ 0 w 406123"/>
              <a:gd name="csY6" fmla="*/ 71756 h 556811"/>
              <a:gd name="csX0" fmla="*/ 0 w 406123"/>
              <a:gd name="csY0" fmla="*/ 71756 h 556811"/>
              <a:gd name="csX1" fmla="*/ 159536 w 406123"/>
              <a:gd name="csY1" fmla="*/ 0 h 556811"/>
              <a:gd name="csX2" fmla="*/ 235191 w 406123"/>
              <a:gd name="csY2" fmla="*/ 241678 h 556811"/>
              <a:gd name="csX3" fmla="*/ 406123 w 406123"/>
              <a:gd name="csY3" fmla="*/ 484573 h 556811"/>
              <a:gd name="csX4" fmla="*/ 236063 w 406123"/>
              <a:gd name="csY4" fmla="*/ 556811 h 556811"/>
              <a:gd name="csX5" fmla="*/ 127241 w 406123"/>
              <a:gd name="csY5" fmla="*/ 295653 h 556811"/>
              <a:gd name="csX6" fmla="*/ 0 w 406123"/>
              <a:gd name="csY6" fmla="*/ 71756 h 55681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06123" h="556811">
                <a:moveTo>
                  <a:pt x="0" y="71756"/>
                </a:moveTo>
                <a:cubicBezTo>
                  <a:pt x="98688" y="76489"/>
                  <a:pt x="106357" y="23919"/>
                  <a:pt x="159536" y="0"/>
                </a:cubicBezTo>
                <a:cubicBezTo>
                  <a:pt x="158316" y="77358"/>
                  <a:pt x="85634" y="184291"/>
                  <a:pt x="235191" y="241678"/>
                </a:cubicBezTo>
                <a:cubicBezTo>
                  <a:pt x="218273" y="305083"/>
                  <a:pt x="263070" y="494546"/>
                  <a:pt x="406123" y="484573"/>
                </a:cubicBezTo>
                <a:cubicBezTo>
                  <a:pt x="343708" y="493440"/>
                  <a:pt x="289090" y="501155"/>
                  <a:pt x="236063" y="556811"/>
                </a:cubicBezTo>
                <a:cubicBezTo>
                  <a:pt x="309424" y="416840"/>
                  <a:pt x="197881" y="318336"/>
                  <a:pt x="127241" y="295653"/>
                </a:cubicBezTo>
                <a:cubicBezTo>
                  <a:pt x="182259" y="199692"/>
                  <a:pt x="76868" y="151096"/>
                  <a:pt x="0" y="71756"/>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00" name="Freeform 99">
            <a:extLst>
              <a:ext uri="{FF2B5EF4-FFF2-40B4-BE49-F238E27FC236}">
                <a16:creationId xmlns:a16="http://schemas.microsoft.com/office/drawing/2014/main" id="{92BE6F91-7E1E-8ED1-A882-CE4A7DA8D281}"/>
              </a:ext>
            </a:extLst>
          </p:cNvPr>
          <p:cNvSpPr/>
          <p:nvPr/>
        </p:nvSpPr>
        <p:spPr>
          <a:xfrm rot="9256127">
            <a:off x="11630947" y="3805131"/>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01" name="Freeform 100">
            <a:extLst>
              <a:ext uri="{FF2B5EF4-FFF2-40B4-BE49-F238E27FC236}">
                <a16:creationId xmlns:a16="http://schemas.microsoft.com/office/drawing/2014/main" id="{5C2EBDE2-1DFD-6491-828A-5B3C88D7DDF4}"/>
              </a:ext>
            </a:extLst>
          </p:cNvPr>
          <p:cNvSpPr/>
          <p:nvPr/>
        </p:nvSpPr>
        <p:spPr>
          <a:xfrm rot="14663104">
            <a:off x="10040318" y="5399101"/>
            <a:ext cx="549983" cy="51967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36963 w 396235"/>
              <a:gd name="csY5" fmla="*/ 315775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207603" y="338458"/>
                  <a:pt x="136963" y="315775"/>
                </a:cubicBezTo>
                <a:cubicBezTo>
                  <a:pt x="191981" y="219814"/>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02" name="Freeform 101">
            <a:extLst>
              <a:ext uri="{FF2B5EF4-FFF2-40B4-BE49-F238E27FC236}">
                <a16:creationId xmlns:a16="http://schemas.microsoft.com/office/drawing/2014/main" id="{5065B9C3-994E-35C0-7361-6F757FFB77B9}"/>
              </a:ext>
            </a:extLst>
          </p:cNvPr>
          <p:cNvSpPr/>
          <p:nvPr/>
        </p:nvSpPr>
        <p:spPr>
          <a:xfrm rot="5756388">
            <a:off x="11830943" y="3123027"/>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03" name="Freeform 102">
            <a:extLst>
              <a:ext uri="{FF2B5EF4-FFF2-40B4-BE49-F238E27FC236}">
                <a16:creationId xmlns:a16="http://schemas.microsoft.com/office/drawing/2014/main" id="{FEE3401D-2ED6-D4C4-36BB-369F95F03931}"/>
              </a:ext>
            </a:extLst>
          </p:cNvPr>
          <p:cNvSpPr/>
          <p:nvPr/>
        </p:nvSpPr>
        <p:spPr>
          <a:xfrm rot="5756388">
            <a:off x="10722459" y="1967801"/>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04" name="Freeform 103">
            <a:extLst>
              <a:ext uri="{FF2B5EF4-FFF2-40B4-BE49-F238E27FC236}">
                <a16:creationId xmlns:a16="http://schemas.microsoft.com/office/drawing/2014/main" id="{005AAD8E-AAB1-45EA-79DF-4AE4E60A410B}"/>
              </a:ext>
            </a:extLst>
          </p:cNvPr>
          <p:cNvSpPr/>
          <p:nvPr/>
        </p:nvSpPr>
        <p:spPr>
          <a:xfrm rot="2553765">
            <a:off x="11330123" y="2522042"/>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05" name="Freeform 104">
            <a:extLst>
              <a:ext uri="{FF2B5EF4-FFF2-40B4-BE49-F238E27FC236}">
                <a16:creationId xmlns:a16="http://schemas.microsoft.com/office/drawing/2014/main" id="{5D74E9C1-7502-67E3-CACE-374C177A2848}"/>
              </a:ext>
            </a:extLst>
          </p:cNvPr>
          <p:cNvSpPr/>
          <p:nvPr/>
        </p:nvSpPr>
        <p:spPr>
          <a:xfrm rot="3032600">
            <a:off x="12065479" y="4987765"/>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06" name="Freeform 105">
            <a:extLst>
              <a:ext uri="{FF2B5EF4-FFF2-40B4-BE49-F238E27FC236}">
                <a16:creationId xmlns:a16="http://schemas.microsoft.com/office/drawing/2014/main" id="{78375CC3-AE43-DE2C-B4FB-2CD7033AC699}"/>
              </a:ext>
            </a:extLst>
          </p:cNvPr>
          <p:cNvSpPr/>
          <p:nvPr/>
        </p:nvSpPr>
        <p:spPr>
          <a:xfrm rot="6035246">
            <a:off x="13108214" y="3931552"/>
            <a:ext cx="549983" cy="995397"/>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07" name="Freeform 106">
            <a:extLst>
              <a:ext uri="{FF2B5EF4-FFF2-40B4-BE49-F238E27FC236}">
                <a16:creationId xmlns:a16="http://schemas.microsoft.com/office/drawing/2014/main" id="{5097B3D0-7F2E-83D4-A6C0-85F2F2E7EC55}"/>
              </a:ext>
            </a:extLst>
          </p:cNvPr>
          <p:cNvSpPr/>
          <p:nvPr/>
        </p:nvSpPr>
        <p:spPr>
          <a:xfrm rot="1425566">
            <a:off x="13985791" y="3165549"/>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08" name="Freeform 107">
            <a:extLst>
              <a:ext uri="{FF2B5EF4-FFF2-40B4-BE49-F238E27FC236}">
                <a16:creationId xmlns:a16="http://schemas.microsoft.com/office/drawing/2014/main" id="{7C7607B7-217B-2602-860C-4AA479CC92F8}"/>
              </a:ext>
            </a:extLst>
          </p:cNvPr>
          <p:cNvSpPr/>
          <p:nvPr/>
        </p:nvSpPr>
        <p:spPr>
          <a:xfrm rot="6039179">
            <a:off x="10362335" y="3416642"/>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09" name="Freeform 108">
            <a:extLst>
              <a:ext uri="{FF2B5EF4-FFF2-40B4-BE49-F238E27FC236}">
                <a16:creationId xmlns:a16="http://schemas.microsoft.com/office/drawing/2014/main" id="{744148E0-3FEA-58A4-3C93-8BC3BA39F76A}"/>
              </a:ext>
            </a:extLst>
          </p:cNvPr>
          <p:cNvSpPr/>
          <p:nvPr/>
        </p:nvSpPr>
        <p:spPr>
          <a:xfrm rot="9410302">
            <a:off x="10487481" y="2724115"/>
            <a:ext cx="549983" cy="651911"/>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10" name="Freeform 109">
            <a:extLst>
              <a:ext uri="{FF2B5EF4-FFF2-40B4-BE49-F238E27FC236}">
                <a16:creationId xmlns:a16="http://schemas.microsoft.com/office/drawing/2014/main" id="{AD87C0E0-05EE-E8A2-05AE-0189D946AF0F}"/>
              </a:ext>
            </a:extLst>
          </p:cNvPr>
          <p:cNvSpPr/>
          <p:nvPr/>
        </p:nvSpPr>
        <p:spPr>
          <a:xfrm rot="190351">
            <a:off x="7438371" y="5067989"/>
            <a:ext cx="495140" cy="70677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11" name="Oval 110">
            <a:extLst>
              <a:ext uri="{FF2B5EF4-FFF2-40B4-BE49-F238E27FC236}">
                <a16:creationId xmlns:a16="http://schemas.microsoft.com/office/drawing/2014/main" id="{822E5B00-BAE2-F328-3A84-8E68A3A13FE9}"/>
              </a:ext>
            </a:extLst>
          </p:cNvPr>
          <p:cNvSpPr/>
          <p:nvPr/>
        </p:nvSpPr>
        <p:spPr>
          <a:xfrm>
            <a:off x="12351665" y="2759057"/>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pic>
        <p:nvPicPr>
          <p:cNvPr id="112" name="Picture 111" descr="A black and pink logo&#10;&#10;AI-generated content may be incorrect.">
            <a:extLst>
              <a:ext uri="{FF2B5EF4-FFF2-40B4-BE49-F238E27FC236}">
                <a16:creationId xmlns:a16="http://schemas.microsoft.com/office/drawing/2014/main" id="{F65102B3-B27A-A88E-EA07-E35435D1A756}"/>
              </a:ext>
            </a:extLst>
          </p:cNvPr>
          <p:cNvPicPr>
            <a:picLocks noChangeAspect="1"/>
          </p:cNvPicPr>
          <p:nvPr/>
        </p:nvPicPr>
        <p:blipFill>
          <a:blip r:embed="rId4"/>
          <a:stretch>
            <a:fillRect/>
          </a:stretch>
        </p:blipFill>
        <p:spPr>
          <a:xfrm>
            <a:off x="8136000" y="3538984"/>
            <a:ext cx="554795" cy="112307"/>
          </a:xfrm>
          <a:prstGeom prst="rect">
            <a:avLst/>
          </a:prstGeom>
        </p:spPr>
      </p:pic>
      <p:sp>
        <p:nvSpPr>
          <p:cNvPr id="113" name="TextBox 112">
            <a:extLst>
              <a:ext uri="{FF2B5EF4-FFF2-40B4-BE49-F238E27FC236}">
                <a16:creationId xmlns:a16="http://schemas.microsoft.com/office/drawing/2014/main" id="{E3BE463C-A90C-640A-2840-3535B47ED075}"/>
              </a:ext>
            </a:extLst>
          </p:cNvPr>
          <p:cNvSpPr txBox="1"/>
          <p:nvPr/>
        </p:nvSpPr>
        <p:spPr>
          <a:xfrm>
            <a:off x="12394478" y="3107901"/>
            <a:ext cx="862737" cy="235898"/>
          </a:xfrm>
          <a:prstGeom prst="rect">
            <a:avLst/>
          </a:prstGeom>
          <a:noFill/>
        </p:spPr>
        <p:txBody>
          <a:bodyPr wrap="none" rtlCol="0">
            <a:spAutoFit/>
          </a:bodyPr>
          <a:lstStyle/>
          <a:p>
            <a:pPr algn="ctr" defTabSz="1219170" eaLnBrk="0" fontAlgn="base" hangingPunct="0">
              <a:spcBef>
                <a:spcPct val="0"/>
              </a:spcBef>
              <a:spcAft>
                <a:spcPct val="0"/>
              </a:spcAft>
            </a:pPr>
            <a:r>
              <a:rPr lang="en-US" sz="933" b="1">
                <a:solidFill>
                  <a:srgbClr val="FFFFFF"/>
                </a:solidFill>
                <a:latin typeface="TT Commons Pro" panose="020B0103030102020204" pitchFamily="34" charset="77"/>
                <a:ea typeface="ＭＳ Ｐゴシック" charset="-128"/>
              </a:rPr>
              <a:t>Palletization</a:t>
            </a:r>
            <a:endParaRPr lang="en-US" sz="1067" b="1">
              <a:solidFill>
                <a:srgbClr val="FFFFFF"/>
              </a:solidFill>
              <a:latin typeface="TT Commons Pro" panose="020B0103030102020204" pitchFamily="34" charset="77"/>
              <a:ea typeface="ＭＳ Ｐゴシック" charset="-128"/>
            </a:endParaRPr>
          </a:p>
        </p:txBody>
      </p:sp>
      <p:sp>
        <p:nvSpPr>
          <p:cNvPr id="114" name="Freeform 113">
            <a:extLst>
              <a:ext uri="{FF2B5EF4-FFF2-40B4-BE49-F238E27FC236}">
                <a16:creationId xmlns:a16="http://schemas.microsoft.com/office/drawing/2014/main" id="{7D2D95FA-0677-6CC1-AC97-C8E829BF4D5F}"/>
              </a:ext>
            </a:extLst>
          </p:cNvPr>
          <p:cNvSpPr/>
          <p:nvPr/>
        </p:nvSpPr>
        <p:spPr>
          <a:xfrm rot="2293253">
            <a:off x="9790227" y="2827122"/>
            <a:ext cx="495140" cy="781105"/>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68489" h="581309">
                <a:moveTo>
                  <a:pt x="0" y="34119"/>
                </a:moveTo>
                <a:lnTo>
                  <a:pt x="156949" y="0"/>
                </a:lnTo>
                <a:cubicBezTo>
                  <a:pt x="155729" y="77358"/>
                  <a:pt x="84422" y="209106"/>
                  <a:pt x="233979" y="266493"/>
                </a:cubicBezTo>
                <a:cubicBezTo>
                  <a:pt x="217061" y="329898"/>
                  <a:pt x="225436" y="487645"/>
                  <a:pt x="368489" y="477672"/>
                </a:cubicBezTo>
                <a:lnTo>
                  <a:pt x="190595" y="581309"/>
                </a:lnTo>
                <a:cubicBezTo>
                  <a:pt x="263956" y="441338"/>
                  <a:pt x="196669" y="343151"/>
                  <a:pt x="126029" y="320468"/>
                </a:cubicBezTo>
                <a:cubicBezTo>
                  <a:pt x="181047" y="224507"/>
                  <a:pt x="76868" y="113459"/>
                  <a:pt x="0" y="34119"/>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15" name="Oval 114">
            <a:extLst>
              <a:ext uri="{FF2B5EF4-FFF2-40B4-BE49-F238E27FC236}">
                <a16:creationId xmlns:a16="http://schemas.microsoft.com/office/drawing/2014/main" id="{C97EB132-6DCF-8880-4885-99C326245171}"/>
              </a:ext>
            </a:extLst>
          </p:cNvPr>
          <p:cNvSpPr/>
          <p:nvPr/>
        </p:nvSpPr>
        <p:spPr>
          <a:xfrm>
            <a:off x="8278413" y="1701380"/>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16" name="TextBox 115">
            <a:extLst>
              <a:ext uri="{FF2B5EF4-FFF2-40B4-BE49-F238E27FC236}">
                <a16:creationId xmlns:a16="http://schemas.microsoft.com/office/drawing/2014/main" id="{98AA31F6-F9DB-CEBE-91C9-D1FF16DB68BA}"/>
              </a:ext>
            </a:extLst>
          </p:cNvPr>
          <p:cNvSpPr txBox="1"/>
          <p:nvPr/>
        </p:nvSpPr>
        <p:spPr>
          <a:xfrm>
            <a:off x="8393732" y="2023257"/>
            <a:ext cx="667170"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Comply</a:t>
            </a:r>
          </a:p>
        </p:txBody>
      </p:sp>
      <p:sp>
        <p:nvSpPr>
          <p:cNvPr id="117" name="Oval 116">
            <a:extLst>
              <a:ext uri="{FF2B5EF4-FFF2-40B4-BE49-F238E27FC236}">
                <a16:creationId xmlns:a16="http://schemas.microsoft.com/office/drawing/2014/main" id="{70899A9B-1065-D72C-BB19-1AEA4D600FE5}"/>
              </a:ext>
            </a:extLst>
          </p:cNvPr>
          <p:cNvSpPr/>
          <p:nvPr/>
        </p:nvSpPr>
        <p:spPr>
          <a:xfrm>
            <a:off x="10409173" y="470521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18" name="TextBox 117">
            <a:extLst>
              <a:ext uri="{FF2B5EF4-FFF2-40B4-BE49-F238E27FC236}">
                <a16:creationId xmlns:a16="http://schemas.microsoft.com/office/drawing/2014/main" id="{23C5AB1E-569A-B4F7-AC44-312E5EF2F6C7}"/>
              </a:ext>
            </a:extLst>
          </p:cNvPr>
          <p:cNvSpPr txBox="1"/>
          <p:nvPr/>
        </p:nvSpPr>
        <p:spPr>
          <a:xfrm>
            <a:off x="10576179" y="4942947"/>
            <a:ext cx="564578" cy="420756"/>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rt</a:t>
            </a:r>
          </a:p>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gent</a:t>
            </a:r>
          </a:p>
        </p:txBody>
      </p:sp>
      <p:sp>
        <p:nvSpPr>
          <p:cNvPr id="119" name="Oval 118">
            <a:extLst>
              <a:ext uri="{FF2B5EF4-FFF2-40B4-BE49-F238E27FC236}">
                <a16:creationId xmlns:a16="http://schemas.microsoft.com/office/drawing/2014/main" id="{7DB34F8F-049A-AA55-A755-BCA014F59627}"/>
              </a:ext>
            </a:extLst>
          </p:cNvPr>
          <p:cNvSpPr/>
          <p:nvPr/>
        </p:nvSpPr>
        <p:spPr>
          <a:xfrm>
            <a:off x="7516776" y="565817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20" name="TextBox 119">
            <a:extLst>
              <a:ext uri="{FF2B5EF4-FFF2-40B4-BE49-F238E27FC236}">
                <a16:creationId xmlns:a16="http://schemas.microsoft.com/office/drawing/2014/main" id="{26E3B78B-3431-C1B9-504B-EB6BF02D741F}"/>
              </a:ext>
            </a:extLst>
          </p:cNvPr>
          <p:cNvSpPr txBox="1"/>
          <p:nvPr/>
        </p:nvSpPr>
        <p:spPr>
          <a:xfrm>
            <a:off x="7660972" y="5978887"/>
            <a:ext cx="636714"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Extract</a:t>
            </a:r>
          </a:p>
        </p:txBody>
      </p:sp>
      <p:sp>
        <p:nvSpPr>
          <p:cNvPr id="121" name="Oval 120">
            <a:extLst>
              <a:ext uri="{FF2B5EF4-FFF2-40B4-BE49-F238E27FC236}">
                <a16:creationId xmlns:a16="http://schemas.microsoft.com/office/drawing/2014/main" id="{82A60007-9EF6-BF88-2E6E-FD59C9295F74}"/>
              </a:ext>
            </a:extLst>
          </p:cNvPr>
          <p:cNvSpPr/>
          <p:nvPr/>
        </p:nvSpPr>
        <p:spPr>
          <a:xfrm>
            <a:off x="8448043" y="4495204"/>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22" name="TextBox 121">
            <a:extLst>
              <a:ext uri="{FF2B5EF4-FFF2-40B4-BE49-F238E27FC236}">
                <a16:creationId xmlns:a16="http://schemas.microsoft.com/office/drawing/2014/main" id="{E1F45FB0-35BB-6D92-5E99-21DB33ECC896}"/>
              </a:ext>
            </a:extLst>
          </p:cNvPr>
          <p:cNvSpPr txBox="1"/>
          <p:nvPr/>
        </p:nvSpPr>
        <p:spPr>
          <a:xfrm>
            <a:off x="8538536" y="4815917"/>
            <a:ext cx="744114"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Interpret</a:t>
            </a:r>
          </a:p>
        </p:txBody>
      </p:sp>
      <p:sp>
        <p:nvSpPr>
          <p:cNvPr id="123" name="Oval 122">
            <a:extLst>
              <a:ext uri="{FF2B5EF4-FFF2-40B4-BE49-F238E27FC236}">
                <a16:creationId xmlns:a16="http://schemas.microsoft.com/office/drawing/2014/main" id="{956C7ABA-1119-02A8-7D1A-570CCBF384BA}"/>
              </a:ext>
            </a:extLst>
          </p:cNvPr>
          <p:cNvSpPr/>
          <p:nvPr/>
        </p:nvSpPr>
        <p:spPr>
          <a:xfrm>
            <a:off x="7017817" y="4200995"/>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24" name="TextBox 123">
            <a:extLst>
              <a:ext uri="{FF2B5EF4-FFF2-40B4-BE49-F238E27FC236}">
                <a16:creationId xmlns:a16="http://schemas.microsoft.com/office/drawing/2014/main" id="{E631C934-431A-9E9D-1F3F-517CBA7AF124}"/>
              </a:ext>
            </a:extLst>
          </p:cNvPr>
          <p:cNvSpPr txBox="1"/>
          <p:nvPr/>
        </p:nvSpPr>
        <p:spPr>
          <a:xfrm>
            <a:off x="7114287" y="4463357"/>
            <a:ext cx="705642"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Content</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Library</a:t>
            </a:r>
          </a:p>
        </p:txBody>
      </p:sp>
      <p:sp>
        <p:nvSpPr>
          <p:cNvPr id="125" name="Oval 124">
            <a:extLst>
              <a:ext uri="{FF2B5EF4-FFF2-40B4-BE49-F238E27FC236}">
                <a16:creationId xmlns:a16="http://schemas.microsoft.com/office/drawing/2014/main" id="{C56959BA-E2B5-E5C0-391E-AA4B47BA603A}"/>
              </a:ext>
            </a:extLst>
          </p:cNvPr>
          <p:cNvSpPr/>
          <p:nvPr/>
        </p:nvSpPr>
        <p:spPr>
          <a:xfrm>
            <a:off x="11554363" y="5526712"/>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26" name="TextBox 125">
            <a:extLst>
              <a:ext uri="{FF2B5EF4-FFF2-40B4-BE49-F238E27FC236}">
                <a16:creationId xmlns:a16="http://schemas.microsoft.com/office/drawing/2014/main" id="{08291978-631A-EF70-24B4-421D42701C38}"/>
              </a:ext>
            </a:extLst>
          </p:cNvPr>
          <p:cNvSpPr txBox="1"/>
          <p:nvPr/>
        </p:nvSpPr>
        <p:spPr>
          <a:xfrm>
            <a:off x="11611990" y="5866197"/>
            <a:ext cx="809838"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pprovals</a:t>
            </a:r>
          </a:p>
        </p:txBody>
      </p:sp>
      <p:sp>
        <p:nvSpPr>
          <p:cNvPr id="127" name="Oval 126">
            <a:extLst>
              <a:ext uri="{FF2B5EF4-FFF2-40B4-BE49-F238E27FC236}">
                <a16:creationId xmlns:a16="http://schemas.microsoft.com/office/drawing/2014/main" id="{94F532CB-487E-0D7E-861A-C5D2C7F04C81}"/>
              </a:ext>
            </a:extLst>
          </p:cNvPr>
          <p:cNvSpPr/>
          <p:nvPr/>
        </p:nvSpPr>
        <p:spPr>
          <a:xfrm>
            <a:off x="10919772" y="312918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28" name="TextBox 127">
            <a:extLst>
              <a:ext uri="{FF2B5EF4-FFF2-40B4-BE49-F238E27FC236}">
                <a16:creationId xmlns:a16="http://schemas.microsoft.com/office/drawing/2014/main" id="{191C7D39-D65C-19D3-0D6C-8C591D26EF8C}"/>
              </a:ext>
            </a:extLst>
          </p:cNvPr>
          <p:cNvSpPr txBox="1"/>
          <p:nvPr/>
        </p:nvSpPr>
        <p:spPr>
          <a:xfrm>
            <a:off x="11059524" y="3462873"/>
            <a:ext cx="619080"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Viewer</a:t>
            </a:r>
          </a:p>
        </p:txBody>
      </p:sp>
      <p:sp>
        <p:nvSpPr>
          <p:cNvPr id="129" name="Oval 128">
            <a:extLst>
              <a:ext uri="{FF2B5EF4-FFF2-40B4-BE49-F238E27FC236}">
                <a16:creationId xmlns:a16="http://schemas.microsoft.com/office/drawing/2014/main" id="{721096F5-1EB0-C99B-DC16-146F86069B1C}"/>
              </a:ext>
            </a:extLst>
          </p:cNvPr>
          <p:cNvSpPr/>
          <p:nvPr/>
        </p:nvSpPr>
        <p:spPr>
          <a:xfrm>
            <a:off x="9470721" y="3386412"/>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30" name="TextBox 129">
            <a:extLst>
              <a:ext uri="{FF2B5EF4-FFF2-40B4-BE49-F238E27FC236}">
                <a16:creationId xmlns:a16="http://schemas.microsoft.com/office/drawing/2014/main" id="{E1911F80-1371-26CF-1315-6B45FF7A119B}"/>
              </a:ext>
            </a:extLst>
          </p:cNvPr>
          <p:cNvSpPr txBox="1"/>
          <p:nvPr/>
        </p:nvSpPr>
        <p:spPr>
          <a:xfrm>
            <a:off x="9529946" y="3627163"/>
            <a:ext cx="780984"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Art</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Workflow</a:t>
            </a:r>
          </a:p>
        </p:txBody>
      </p:sp>
      <p:sp>
        <p:nvSpPr>
          <p:cNvPr id="131" name="Oval 130">
            <a:extLst>
              <a:ext uri="{FF2B5EF4-FFF2-40B4-BE49-F238E27FC236}">
                <a16:creationId xmlns:a16="http://schemas.microsoft.com/office/drawing/2014/main" id="{52120729-5A26-9A1C-35B7-A98BB5ADF42C}"/>
              </a:ext>
            </a:extLst>
          </p:cNvPr>
          <p:cNvSpPr/>
          <p:nvPr/>
        </p:nvSpPr>
        <p:spPr>
          <a:xfrm>
            <a:off x="6492931" y="2840119"/>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32" name="TextBox 131">
            <a:extLst>
              <a:ext uri="{FF2B5EF4-FFF2-40B4-BE49-F238E27FC236}">
                <a16:creationId xmlns:a16="http://schemas.microsoft.com/office/drawing/2014/main" id="{8A873063-B16C-7F9B-E75A-D7466DFE9EA2}"/>
              </a:ext>
            </a:extLst>
          </p:cNvPr>
          <p:cNvSpPr txBox="1"/>
          <p:nvPr/>
        </p:nvSpPr>
        <p:spPr>
          <a:xfrm>
            <a:off x="6552255" y="3074467"/>
            <a:ext cx="780984"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Copy</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Workflow</a:t>
            </a:r>
          </a:p>
        </p:txBody>
      </p:sp>
      <p:sp>
        <p:nvSpPr>
          <p:cNvPr id="133" name="Oval 132">
            <a:extLst>
              <a:ext uri="{FF2B5EF4-FFF2-40B4-BE49-F238E27FC236}">
                <a16:creationId xmlns:a16="http://schemas.microsoft.com/office/drawing/2014/main" id="{C0554764-D472-610B-B9D5-A3A72832904B}"/>
              </a:ext>
            </a:extLst>
          </p:cNvPr>
          <p:cNvSpPr/>
          <p:nvPr/>
        </p:nvSpPr>
        <p:spPr>
          <a:xfrm>
            <a:off x="7981944" y="298773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34" name="TextBox 133">
            <a:extLst>
              <a:ext uri="{FF2B5EF4-FFF2-40B4-BE49-F238E27FC236}">
                <a16:creationId xmlns:a16="http://schemas.microsoft.com/office/drawing/2014/main" id="{032CA85A-3EF5-BF2D-6A97-49D95742A545}"/>
              </a:ext>
            </a:extLst>
          </p:cNvPr>
          <p:cNvSpPr txBox="1"/>
          <p:nvPr/>
        </p:nvSpPr>
        <p:spPr>
          <a:xfrm>
            <a:off x="7997466" y="3251251"/>
            <a:ext cx="867545" cy="420756"/>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Regulation</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Tech</a:t>
            </a:r>
          </a:p>
        </p:txBody>
      </p:sp>
      <p:sp>
        <p:nvSpPr>
          <p:cNvPr id="135" name="Oval 134">
            <a:extLst>
              <a:ext uri="{FF2B5EF4-FFF2-40B4-BE49-F238E27FC236}">
                <a16:creationId xmlns:a16="http://schemas.microsoft.com/office/drawing/2014/main" id="{249EF17D-2474-3E26-54BA-B3F32512FB32}"/>
              </a:ext>
            </a:extLst>
          </p:cNvPr>
          <p:cNvSpPr/>
          <p:nvPr/>
        </p:nvSpPr>
        <p:spPr>
          <a:xfrm>
            <a:off x="11286484" y="1567656"/>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36" name="TextBox 135">
            <a:extLst>
              <a:ext uri="{FF2B5EF4-FFF2-40B4-BE49-F238E27FC236}">
                <a16:creationId xmlns:a16="http://schemas.microsoft.com/office/drawing/2014/main" id="{72D744A8-D05B-07BB-20A9-C036D32A936E}"/>
              </a:ext>
            </a:extLst>
          </p:cNvPr>
          <p:cNvSpPr txBox="1"/>
          <p:nvPr/>
        </p:nvSpPr>
        <p:spPr>
          <a:xfrm>
            <a:off x="11424638" y="1897433"/>
            <a:ext cx="622286"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err="1">
                <a:solidFill>
                  <a:srgbClr val="FFFFFF"/>
                </a:solidFill>
                <a:latin typeface="TT Commons Pro" panose="020B0103030102020204" pitchFamily="34" charset="77"/>
                <a:ea typeface="ＭＳ Ｐゴシック" charset="-128"/>
              </a:rPr>
              <a:t>Dieline</a:t>
            </a:r>
            <a:endParaRPr lang="en-US" sz="1067" b="1">
              <a:solidFill>
                <a:srgbClr val="FFFFFF"/>
              </a:solidFill>
              <a:latin typeface="TT Commons Pro" panose="020B0103030102020204" pitchFamily="34" charset="77"/>
              <a:ea typeface="ＭＳ Ｐゴシック" charset="-128"/>
            </a:endParaRPr>
          </a:p>
        </p:txBody>
      </p:sp>
      <p:sp>
        <p:nvSpPr>
          <p:cNvPr id="137" name="Oval 136">
            <a:extLst>
              <a:ext uri="{FF2B5EF4-FFF2-40B4-BE49-F238E27FC236}">
                <a16:creationId xmlns:a16="http://schemas.microsoft.com/office/drawing/2014/main" id="{DDC94AFA-063D-C5FD-5099-32E441445AE4}"/>
              </a:ext>
            </a:extLst>
          </p:cNvPr>
          <p:cNvSpPr/>
          <p:nvPr/>
        </p:nvSpPr>
        <p:spPr>
          <a:xfrm>
            <a:off x="13805875" y="3813701"/>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38" name="TextBox 137">
            <a:extLst>
              <a:ext uri="{FF2B5EF4-FFF2-40B4-BE49-F238E27FC236}">
                <a16:creationId xmlns:a16="http://schemas.microsoft.com/office/drawing/2014/main" id="{777B0336-CC80-9520-95FA-7A8D03810B2E}"/>
              </a:ext>
            </a:extLst>
          </p:cNvPr>
          <p:cNvSpPr txBox="1"/>
          <p:nvPr/>
        </p:nvSpPr>
        <p:spPr>
          <a:xfrm>
            <a:off x="13876953" y="4154926"/>
            <a:ext cx="792205"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Pre-press</a:t>
            </a:r>
          </a:p>
        </p:txBody>
      </p:sp>
      <p:sp>
        <p:nvSpPr>
          <p:cNvPr id="139" name="Oval 138">
            <a:extLst>
              <a:ext uri="{FF2B5EF4-FFF2-40B4-BE49-F238E27FC236}">
                <a16:creationId xmlns:a16="http://schemas.microsoft.com/office/drawing/2014/main" id="{75F56221-0017-7C26-8185-B667E79CA48E}"/>
              </a:ext>
            </a:extLst>
          </p:cNvPr>
          <p:cNvSpPr/>
          <p:nvPr/>
        </p:nvSpPr>
        <p:spPr>
          <a:xfrm>
            <a:off x="9386595" y="5759501"/>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40" name="TextBox 139">
            <a:extLst>
              <a:ext uri="{FF2B5EF4-FFF2-40B4-BE49-F238E27FC236}">
                <a16:creationId xmlns:a16="http://schemas.microsoft.com/office/drawing/2014/main" id="{52CA9CAF-84B9-019F-FBD1-0174DC8A6960}"/>
              </a:ext>
            </a:extLst>
          </p:cNvPr>
          <p:cNvSpPr txBox="1"/>
          <p:nvPr/>
        </p:nvSpPr>
        <p:spPr>
          <a:xfrm>
            <a:off x="9583681" y="6088295"/>
            <a:ext cx="530916"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sset</a:t>
            </a:r>
          </a:p>
        </p:txBody>
      </p:sp>
      <p:sp>
        <p:nvSpPr>
          <p:cNvPr id="141" name="Freeform 140">
            <a:extLst>
              <a:ext uri="{FF2B5EF4-FFF2-40B4-BE49-F238E27FC236}">
                <a16:creationId xmlns:a16="http://schemas.microsoft.com/office/drawing/2014/main" id="{FF5BA4BF-93F3-947D-A642-3900B82BE5FC}"/>
              </a:ext>
            </a:extLst>
          </p:cNvPr>
          <p:cNvSpPr/>
          <p:nvPr/>
        </p:nvSpPr>
        <p:spPr>
          <a:xfrm rot="20426043">
            <a:off x="12084280" y="2287751"/>
            <a:ext cx="510480" cy="592636"/>
          </a:xfrm>
          <a:custGeom>
            <a:avLst/>
            <a:gdLst>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16006 w 368489"/>
              <a:gd name="csY7" fmla="*/ 23883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25188 w 368489"/>
              <a:gd name="csY3" fmla="*/ 327546 h 552734"/>
              <a:gd name="csX4" fmla="*/ 368489 w 368489"/>
              <a:gd name="csY4" fmla="*/ 477672 h 552734"/>
              <a:gd name="csX5" fmla="*/ 184245 w 368489"/>
              <a:gd name="csY5" fmla="*/ 552734 h 552734"/>
              <a:gd name="csX6" fmla="*/ 163773 w 368489"/>
              <a:gd name="csY6" fmla="*/ 375314 h 552734"/>
              <a:gd name="csX7" fmla="*/ 106979 w 368489"/>
              <a:gd name="csY7" fmla="*/ 317293 h 552734"/>
              <a:gd name="csX8" fmla="*/ 116006 w 368489"/>
              <a:gd name="csY8" fmla="*/ 23883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106979 w 368489"/>
              <a:gd name="csY8" fmla="*/ 3172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33979 w 368489"/>
              <a:gd name="csY3" fmla="*/ 260143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16006 w 368489"/>
              <a:gd name="csY9" fmla="*/ 23883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322879 w 368489"/>
              <a:gd name="csY3" fmla="*/ 24426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3773 w 368489"/>
              <a:gd name="csY7" fmla="*/ 384839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79648 w 368489"/>
              <a:gd name="csY7" fmla="*/ 37531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166948 w 368489"/>
              <a:gd name="csY7" fmla="*/ 368964 h 552734"/>
              <a:gd name="csX8" fmla="*/ 65704 w 368489"/>
              <a:gd name="csY8" fmla="*/ 342693 h 552734"/>
              <a:gd name="csX9" fmla="*/ 122356 w 368489"/>
              <a:gd name="csY9" fmla="*/ 245186 h 552734"/>
              <a:gd name="csX10" fmla="*/ 0 w 368489"/>
              <a:gd name="csY10"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225188 w 368489"/>
              <a:gd name="csY4" fmla="*/ 327546 h 552734"/>
              <a:gd name="csX5" fmla="*/ 368489 w 368489"/>
              <a:gd name="csY5" fmla="*/ 477672 h 552734"/>
              <a:gd name="csX6" fmla="*/ 184245 w 368489"/>
              <a:gd name="csY6" fmla="*/ 552734 h 552734"/>
              <a:gd name="csX7" fmla="*/ 65704 w 368489"/>
              <a:gd name="csY7" fmla="*/ 342693 h 552734"/>
              <a:gd name="csX8" fmla="*/ 122356 w 368489"/>
              <a:gd name="csY8" fmla="*/ 245186 h 552734"/>
              <a:gd name="csX9" fmla="*/ 0 w 368489"/>
              <a:gd name="csY9" fmla="*/ 34119 h 552734"/>
              <a:gd name="csX0" fmla="*/ 0 w 370622"/>
              <a:gd name="csY0" fmla="*/ 34119 h 552734"/>
              <a:gd name="csX1" fmla="*/ 156949 w 370622"/>
              <a:gd name="csY1" fmla="*/ 0 h 552734"/>
              <a:gd name="csX2" fmla="*/ 184245 w 370622"/>
              <a:gd name="csY2" fmla="*/ 211540 h 552734"/>
              <a:gd name="csX3" fmla="*/ 278429 w 370622"/>
              <a:gd name="csY3" fmla="*/ 250618 h 552734"/>
              <a:gd name="csX4" fmla="*/ 368489 w 370622"/>
              <a:gd name="csY4" fmla="*/ 477672 h 552734"/>
              <a:gd name="csX5" fmla="*/ 184245 w 370622"/>
              <a:gd name="csY5" fmla="*/ 552734 h 552734"/>
              <a:gd name="csX6" fmla="*/ 65704 w 370622"/>
              <a:gd name="csY6" fmla="*/ 342693 h 552734"/>
              <a:gd name="csX7" fmla="*/ 122356 w 370622"/>
              <a:gd name="csY7" fmla="*/ 245186 h 552734"/>
              <a:gd name="csX8" fmla="*/ 0 w 370622"/>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184245 w 368489"/>
              <a:gd name="csY2" fmla="*/ 211540 h 552734"/>
              <a:gd name="csX3" fmla="*/ 278429 w 368489"/>
              <a:gd name="csY3" fmla="*/ 250618 h 552734"/>
              <a:gd name="csX4" fmla="*/ 368489 w 368489"/>
              <a:gd name="csY4" fmla="*/ 477672 h 552734"/>
              <a:gd name="csX5" fmla="*/ 184245 w 368489"/>
              <a:gd name="csY5" fmla="*/ 552734 h 552734"/>
              <a:gd name="csX6" fmla="*/ 65704 w 368489"/>
              <a:gd name="csY6" fmla="*/ 342693 h 552734"/>
              <a:gd name="csX7" fmla="*/ 122356 w 368489"/>
              <a:gd name="csY7" fmla="*/ 245186 h 552734"/>
              <a:gd name="csX8" fmla="*/ 0 w 368489"/>
              <a:gd name="csY8" fmla="*/ 34119 h 552734"/>
              <a:gd name="csX0" fmla="*/ 0 w 368489"/>
              <a:gd name="csY0" fmla="*/ 34119 h 552734"/>
              <a:gd name="csX1" fmla="*/ 156949 w 368489"/>
              <a:gd name="csY1" fmla="*/ 0 h 552734"/>
              <a:gd name="csX2" fmla="*/ 278429 w 368489"/>
              <a:gd name="csY2" fmla="*/ 250618 h 552734"/>
              <a:gd name="csX3" fmla="*/ 368489 w 368489"/>
              <a:gd name="csY3" fmla="*/ 477672 h 552734"/>
              <a:gd name="csX4" fmla="*/ 184245 w 368489"/>
              <a:gd name="csY4" fmla="*/ 552734 h 552734"/>
              <a:gd name="csX5" fmla="*/ 65704 w 368489"/>
              <a:gd name="csY5" fmla="*/ 342693 h 552734"/>
              <a:gd name="csX6" fmla="*/ 122356 w 368489"/>
              <a:gd name="csY6" fmla="*/ 245186 h 552734"/>
              <a:gd name="csX7" fmla="*/ 0 w 368489"/>
              <a:gd name="csY7" fmla="*/ 34119 h 552734"/>
              <a:gd name="csX0" fmla="*/ 2802 w 371291"/>
              <a:gd name="csY0" fmla="*/ 34119 h 552734"/>
              <a:gd name="csX1" fmla="*/ 159751 w 371291"/>
              <a:gd name="csY1" fmla="*/ 0 h 552734"/>
              <a:gd name="csX2" fmla="*/ 281231 w 371291"/>
              <a:gd name="csY2" fmla="*/ 250618 h 552734"/>
              <a:gd name="csX3" fmla="*/ 371291 w 371291"/>
              <a:gd name="csY3" fmla="*/ 477672 h 552734"/>
              <a:gd name="csX4" fmla="*/ 187047 w 371291"/>
              <a:gd name="csY4" fmla="*/ 552734 h 552734"/>
              <a:gd name="csX5" fmla="*/ 68506 w 371291"/>
              <a:gd name="csY5" fmla="*/ 342693 h 552734"/>
              <a:gd name="csX6" fmla="*/ 2802 w 371291"/>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798 w 369287"/>
              <a:gd name="csY0" fmla="*/ 34119 h 552734"/>
              <a:gd name="csX1" fmla="*/ 157747 w 369287"/>
              <a:gd name="csY1" fmla="*/ 0 h 552734"/>
              <a:gd name="csX2" fmla="*/ 279227 w 369287"/>
              <a:gd name="csY2" fmla="*/ 250618 h 552734"/>
              <a:gd name="csX3" fmla="*/ 369287 w 369287"/>
              <a:gd name="csY3" fmla="*/ 477672 h 552734"/>
              <a:gd name="csX4" fmla="*/ 185043 w 369287"/>
              <a:gd name="csY4" fmla="*/ 552734 h 552734"/>
              <a:gd name="csX5" fmla="*/ 66502 w 369287"/>
              <a:gd name="csY5" fmla="*/ 342693 h 552734"/>
              <a:gd name="csX6" fmla="*/ 798 w 369287"/>
              <a:gd name="csY6" fmla="*/ 34119 h 552734"/>
              <a:gd name="csX0" fmla="*/ 624 w 369113"/>
              <a:gd name="csY0" fmla="*/ 34119 h 552734"/>
              <a:gd name="csX1" fmla="*/ 157573 w 369113"/>
              <a:gd name="csY1" fmla="*/ 0 h 552734"/>
              <a:gd name="csX2" fmla="*/ 279053 w 369113"/>
              <a:gd name="csY2" fmla="*/ 250618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624 w 369113"/>
              <a:gd name="csY0" fmla="*/ 34119 h 552734"/>
              <a:gd name="csX1" fmla="*/ 157573 w 369113"/>
              <a:gd name="csY1" fmla="*/ 0 h 552734"/>
              <a:gd name="csX2" fmla="*/ 234603 w 369113"/>
              <a:gd name="csY2" fmla="*/ 266493 h 552734"/>
              <a:gd name="csX3" fmla="*/ 369113 w 369113"/>
              <a:gd name="csY3" fmla="*/ 477672 h 552734"/>
              <a:gd name="csX4" fmla="*/ 184869 w 369113"/>
              <a:gd name="csY4" fmla="*/ 552734 h 552734"/>
              <a:gd name="csX5" fmla="*/ 126653 w 369113"/>
              <a:gd name="csY5" fmla="*/ 320468 h 552734"/>
              <a:gd name="csX6" fmla="*/ 624 w 369113"/>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806 w 369295"/>
              <a:gd name="csY0" fmla="*/ 34119 h 552734"/>
              <a:gd name="csX1" fmla="*/ 157755 w 369295"/>
              <a:gd name="csY1" fmla="*/ 0 h 552734"/>
              <a:gd name="csX2" fmla="*/ 234785 w 369295"/>
              <a:gd name="csY2" fmla="*/ 266493 h 552734"/>
              <a:gd name="csX3" fmla="*/ 369295 w 369295"/>
              <a:gd name="csY3" fmla="*/ 477672 h 552734"/>
              <a:gd name="csX4" fmla="*/ 185051 w 369295"/>
              <a:gd name="csY4" fmla="*/ 552734 h 552734"/>
              <a:gd name="csX5" fmla="*/ 126835 w 369295"/>
              <a:gd name="csY5" fmla="*/ 320468 h 552734"/>
              <a:gd name="csX6" fmla="*/ 806 w 369295"/>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52734"/>
              <a:gd name="csX1" fmla="*/ 156949 w 368489"/>
              <a:gd name="csY1" fmla="*/ 0 h 552734"/>
              <a:gd name="csX2" fmla="*/ 233979 w 368489"/>
              <a:gd name="csY2" fmla="*/ 266493 h 552734"/>
              <a:gd name="csX3" fmla="*/ 368489 w 368489"/>
              <a:gd name="csY3" fmla="*/ 477672 h 552734"/>
              <a:gd name="csX4" fmla="*/ 184245 w 368489"/>
              <a:gd name="csY4" fmla="*/ 552734 h 552734"/>
              <a:gd name="csX5" fmla="*/ 126029 w 368489"/>
              <a:gd name="csY5" fmla="*/ 320468 h 552734"/>
              <a:gd name="csX6" fmla="*/ 0 w 368489"/>
              <a:gd name="csY6" fmla="*/ 34119 h 552734"/>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368489"/>
              <a:gd name="csY0" fmla="*/ 34119 h 581309"/>
              <a:gd name="csX1" fmla="*/ 156949 w 368489"/>
              <a:gd name="csY1" fmla="*/ 0 h 581309"/>
              <a:gd name="csX2" fmla="*/ 233979 w 368489"/>
              <a:gd name="csY2" fmla="*/ 266493 h 581309"/>
              <a:gd name="csX3" fmla="*/ 368489 w 368489"/>
              <a:gd name="csY3" fmla="*/ 477672 h 581309"/>
              <a:gd name="csX4" fmla="*/ 190595 w 368489"/>
              <a:gd name="csY4" fmla="*/ 581309 h 581309"/>
              <a:gd name="csX5" fmla="*/ 126029 w 368489"/>
              <a:gd name="csY5" fmla="*/ 320468 h 581309"/>
              <a:gd name="csX6" fmla="*/ 0 w 368489"/>
              <a:gd name="csY6" fmla="*/ 34119 h 581309"/>
              <a:gd name="csX0" fmla="*/ 0 w 404911"/>
              <a:gd name="csY0" fmla="*/ 34119 h 581309"/>
              <a:gd name="csX1" fmla="*/ 156949 w 404911"/>
              <a:gd name="csY1" fmla="*/ 0 h 581309"/>
              <a:gd name="csX2" fmla="*/ 233979 w 404911"/>
              <a:gd name="csY2" fmla="*/ 266493 h 581309"/>
              <a:gd name="csX3" fmla="*/ 404911 w 404911"/>
              <a:gd name="csY3" fmla="*/ 509388 h 581309"/>
              <a:gd name="csX4" fmla="*/ 190595 w 404911"/>
              <a:gd name="csY4" fmla="*/ 581309 h 581309"/>
              <a:gd name="csX5" fmla="*/ 126029 w 404911"/>
              <a:gd name="csY5" fmla="*/ 320468 h 581309"/>
              <a:gd name="csX6" fmla="*/ 0 w 404911"/>
              <a:gd name="csY6" fmla="*/ 34119 h 581309"/>
              <a:gd name="csX0" fmla="*/ 0 w 404911"/>
              <a:gd name="csY0" fmla="*/ 34119 h 535989"/>
              <a:gd name="csX1" fmla="*/ 156949 w 404911"/>
              <a:gd name="csY1" fmla="*/ 0 h 535989"/>
              <a:gd name="csX2" fmla="*/ 233979 w 404911"/>
              <a:gd name="csY2" fmla="*/ 266493 h 535989"/>
              <a:gd name="csX3" fmla="*/ 404911 w 404911"/>
              <a:gd name="csY3" fmla="*/ 509388 h 535989"/>
              <a:gd name="csX4" fmla="*/ 217667 w 404911"/>
              <a:gd name="csY4" fmla="*/ 535989 h 535989"/>
              <a:gd name="csX5" fmla="*/ 126029 w 404911"/>
              <a:gd name="csY5" fmla="*/ 320468 h 535989"/>
              <a:gd name="csX6" fmla="*/ 0 w 404911"/>
              <a:gd name="csY6" fmla="*/ 34119 h 535989"/>
              <a:gd name="csX0" fmla="*/ 0 w 396235"/>
              <a:gd name="csY0" fmla="*/ 55212 h 535989"/>
              <a:gd name="csX1" fmla="*/ 148273 w 396235"/>
              <a:gd name="csY1" fmla="*/ 0 h 535989"/>
              <a:gd name="csX2" fmla="*/ 225303 w 396235"/>
              <a:gd name="csY2" fmla="*/ 266493 h 535989"/>
              <a:gd name="csX3" fmla="*/ 396235 w 396235"/>
              <a:gd name="csY3" fmla="*/ 509388 h 535989"/>
              <a:gd name="csX4" fmla="*/ 208991 w 396235"/>
              <a:gd name="csY4" fmla="*/ 535989 h 535989"/>
              <a:gd name="csX5" fmla="*/ 117353 w 396235"/>
              <a:gd name="csY5" fmla="*/ 320468 h 535989"/>
              <a:gd name="csX6" fmla="*/ 0 w 396235"/>
              <a:gd name="csY6" fmla="*/ 55212 h 535989"/>
              <a:gd name="csX0" fmla="*/ 0 w 396235"/>
              <a:gd name="csY0" fmla="*/ 30397 h 511174"/>
              <a:gd name="csX1" fmla="*/ 149648 w 396235"/>
              <a:gd name="csY1" fmla="*/ 0 h 511174"/>
              <a:gd name="csX2" fmla="*/ 225303 w 396235"/>
              <a:gd name="csY2" fmla="*/ 241678 h 511174"/>
              <a:gd name="csX3" fmla="*/ 396235 w 396235"/>
              <a:gd name="csY3" fmla="*/ 484573 h 511174"/>
              <a:gd name="csX4" fmla="*/ 208991 w 396235"/>
              <a:gd name="csY4" fmla="*/ 511174 h 511174"/>
              <a:gd name="csX5" fmla="*/ 117353 w 396235"/>
              <a:gd name="csY5" fmla="*/ 295653 h 511174"/>
              <a:gd name="csX6" fmla="*/ 0 w 396235"/>
              <a:gd name="csY6" fmla="*/ 30397 h 5111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96235" h="511174">
                <a:moveTo>
                  <a:pt x="0" y="30397"/>
                </a:moveTo>
                <a:lnTo>
                  <a:pt x="149648" y="0"/>
                </a:lnTo>
                <a:cubicBezTo>
                  <a:pt x="148428" y="77358"/>
                  <a:pt x="75746" y="184291"/>
                  <a:pt x="225303" y="241678"/>
                </a:cubicBezTo>
                <a:cubicBezTo>
                  <a:pt x="208385" y="305083"/>
                  <a:pt x="253182" y="494546"/>
                  <a:pt x="396235" y="484573"/>
                </a:cubicBezTo>
                <a:lnTo>
                  <a:pt x="208991" y="511174"/>
                </a:lnTo>
                <a:cubicBezTo>
                  <a:pt x="282352" y="371203"/>
                  <a:pt x="187993" y="318336"/>
                  <a:pt x="117353" y="295653"/>
                </a:cubicBezTo>
                <a:cubicBezTo>
                  <a:pt x="172371" y="199692"/>
                  <a:pt x="76868" y="109737"/>
                  <a:pt x="0" y="30397"/>
                </a:cubicBezTo>
                <a:close/>
              </a:path>
            </a:pathLst>
          </a:custGeom>
          <a:gradFill flip="none" rotWithShape="1">
            <a:gsLst>
              <a:gs pos="100000">
                <a:srgbClr val="687581">
                  <a:alpha val="0"/>
                </a:srgbClr>
              </a:gs>
              <a:gs pos="33000">
                <a:schemeClr val="tx1">
                  <a:lumMod val="85000"/>
                </a:schemeClr>
              </a:gs>
              <a:gs pos="69000">
                <a:schemeClr val="bg1">
                  <a:lumMod val="95000"/>
                  <a:lumOff val="5000"/>
                  <a:alpha val="0"/>
                </a:schemeClr>
              </a:gs>
              <a:gs pos="4000">
                <a:schemeClr val="tx1">
                  <a:lumMod val="9500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pPr>
            <a:endParaRPr lang="en-US" sz="1867">
              <a:solidFill>
                <a:srgbClr val="FFFFFF"/>
              </a:solidFill>
              <a:latin typeface="TT Commons" panose="02000506040000020004" pitchFamily="2" charset="77"/>
            </a:endParaRPr>
          </a:p>
        </p:txBody>
      </p:sp>
      <p:sp>
        <p:nvSpPr>
          <p:cNvPr id="142" name="Oval 141">
            <a:extLst>
              <a:ext uri="{FF2B5EF4-FFF2-40B4-BE49-F238E27FC236}">
                <a16:creationId xmlns:a16="http://schemas.microsoft.com/office/drawing/2014/main" id="{1A985360-B5B4-797D-4A63-AA2D1B659155}"/>
              </a:ext>
            </a:extLst>
          </p:cNvPr>
          <p:cNvSpPr/>
          <p:nvPr/>
        </p:nvSpPr>
        <p:spPr>
          <a:xfrm>
            <a:off x="12071349" y="4092363"/>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43" name="TextBox 142">
            <a:extLst>
              <a:ext uri="{FF2B5EF4-FFF2-40B4-BE49-F238E27FC236}">
                <a16:creationId xmlns:a16="http://schemas.microsoft.com/office/drawing/2014/main" id="{692D5D19-6BB0-2C5A-92FF-5A2C12FE01ED}"/>
              </a:ext>
            </a:extLst>
          </p:cNvPr>
          <p:cNvSpPr txBox="1"/>
          <p:nvPr/>
        </p:nvSpPr>
        <p:spPr>
          <a:xfrm>
            <a:off x="12138049" y="4351211"/>
            <a:ext cx="793807" cy="421654"/>
          </a:xfrm>
          <a:prstGeom prst="rect">
            <a:avLst/>
          </a:prstGeom>
          <a:noFill/>
        </p:spPr>
        <p:txBody>
          <a:bodyPr wrap="none" rtlCol="0">
            <a:spAutoFit/>
          </a:bodyPr>
          <a:lstStyle/>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Pre-press</a:t>
            </a:r>
          </a:p>
          <a:p>
            <a:pPr algn="ctr" defTabSz="1219170" eaLnBrk="0" fontAlgn="base" hangingPunct="0">
              <a:spcBef>
                <a:spcPct val="0"/>
              </a:spcBef>
              <a:spcAft>
                <a:spcPct val="0"/>
              </a:spcAft>
            </a:pPr>
            <a:r>
              <a:rPr lang="en-US" sz="1070" b="1">
                <a:solidFill>
                  <a:srgbClr val="FFFFFF"/>
                </a:solidFill>
                <a:latin typeface="TT Commons Pro" panose="020B0103030102020204" pitchFamily="34" charset="77"/>
                <a:ea typeface="ＭＳ Ｐゴシック" charset="-128"/>
              </a:rPr>
              <a:t>Workflow</a:t>
            </a:r>
          </a:p>
        </p:txBody>
      </p:sp>
      <p:sp>
        <p:nvSpPr>
          <p:cNvPr id="144" name="Oval 143">
            <a:extLst>
              <a:ext uri="{FF2B5EF4-FFF2-40B4-BE49-F238E27FC236}">
                <a16:creationId xmlns:a16="http://schemas.microsoft.com/office/drawing/2014/main" id="{E34E4205-D6F1-D5B9-8248-B73C2675237C}"/>
              </a:ext>
            </a:extLst>
          </p:cNvPr>
          <p:cNvSpPr/>
          <p:nvPr/>
        </p:nvSpPr>
        <p:spPr>
          <a:xfrm>
            <a:off x="13778481" y="2267155"/>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45" name="TextBox 144">
            <a:extLst>
              <a:ext uri="{FF2B5EF4-FFF2-40B4-BE49-F238E27FC236}">
                <a16:creationId xmlns:a16="http://schemas.microsoft.com/office/drawing/2014/main" id="{79E46C6C-2A29-2DA3-19FD-7035CD5470AF}"/>
              </a:ext>
            </a:extLst>
          </p:cNvPr>
          <p:cNvSpPr txBox="1"/>
          <p:nvPr/>
        </p:nvSpPr>
        <p:spPr>
          <a:xfrm>
            <a:off x="13975571" y="2601082"/>
            <a:ext cx="530915"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Color</a:t>
            </a:r>
          </a:p>
        </p:txBody>
      </p:sp>
      <p:sp>
        <p:nvSpPr>
          <p:cNvPr id="146" name="Oval 145">
            <a:extLst>
              <a:ext uri="{FF2B5EF4-FFF2-40B4-BE49-F238E27FC236}">
                <a16:creationId xmlns:a16="http://schemas.microsoft.com/office/drawing/2014/main" id="{0973A7B7-0027-01D5-9DDB-27AE9499F45E}"/>
              </a:ext>
            </a:extLst>
          </p:cNvPr>
          <p:cNvSpPr/>
          <p:nvPr/>
        </p:nvSpPr>
        <p:spPr>
          <a:xfrm>
            <a:off x="5524477" y="4004215"/>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47" name="TextBox 146">
            <a:extLst>
              <a:ext uri="{FF2B5EF4-FFF2-40B4-BE49-F238E27FC236}">
                <a16:creationId xmlns:a16="http://schemas.microsoft.com/office/drawing/2014/main" id="{C6027F8A-D05B-0253-C9D2-541115F94B6A}"/>
              </a:ext>
            </a:extLst>
          </p:cNvPr>
          <p:cNvSpPr txBox="1"/>
          <p:nvPr/>
        </p:nvSpPr>
        <p:spPr>
          <a:xfrm>
            <a:off x="5568853" y="4330447"/>
            <a:ext cx="809838"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a:solidFill>
                  <a:srgbClr val="FFFFFF"/>
                </a:solidFill>
                <a:latin typeface="TT Commons Pro" panose="020B0103030102020204" pitchFamily="34" charset="77"/>
                <a:ea typeface="ＭＳ Ｐゴシック" charset="-128"/>
              </a:rPr>
              <a:t>Approvals</a:t>
            </a:r>
          </a:p>
        </p:txBody>
      </p:sp>
      <p:sp>
        <p:nvSpPr>
          <p:cNvPr id="148" name="Oval 147">
            <a:extLst>
              <a:ext uri="{FF2B5EF4-FFF2-40B4-BE49-F238E27FC236}">
                <a16:creationId xmlns:a16="http://schemas.microsoft.com/office/drawing/2014/main" id="{A54D531A-F952-BEED-39C0-0D4A365ED93F}"/>
              </a:ext>
            </a:extLst>
          </p:cNvPr>
          <p:cNvSpPr/>
          <p:nvPr/>
        </p:nvSpPr>
        <p:spPr>
          <a:xfrm>
            <a:off x="9772433" y="2003639"/>
            <a:ext cx="898587" cy="898587"/>
          </a:xfrm>
          <a:prstGeom prst="ellipse">
            <a:avLst/>
          </a:prstGeom>
          <a:gradFill flip="none" rotWithShape="1">
            <a:gsLst>
              <a:gs pos="49000">
                <a:schemeClr val="accent2">
                  <a:lumMod val="50000"/>
                </a:schemeClr>
              </a:gs>
              <a:gs pos="100000">
                <a:schemeClr val="accent2">
                  <a:lumMod val="20000"/>
                  <a:lumOff val="80000"/>
                </a:schemeClr>
              </a:gs>
            </a:gsLst>
            <a:path path="circle">
              <a:fillToRect l="50000" t="50000" r="50000" b="50000"/>
            </a:path>
            <a:tileRect/>
          </a:gradFill>
          <a:ln w="12700">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1219170" eaLnBrk="0" fontAlgn="base" hangingPunct="0">
              <a:spcBef>
                <a:spcPct val="0"/>
              </a:spcBef>
              <a:spcAft>
                <a:spcPct val="0"/>
              </a:spcAft>
            </a:pPr>
            <a:endParaRPr lang="en-US" sz="1400" b="1">
              <a:solidFill>
                <a:srgbClr val="FFFFFF"/>
              </a:solidFill>
              <a:latin typeface="TT Commons" panose="02000506040000020004" pitchFamily="2" charset="77"/>
            </a:endParaRPr>
          </a:p>
        </p:txBody>
      </p:sp>
      <p:sp>
        <p:nvSpPr>
          <p:cNvPr id="149" name="TextBox 148">
            <a:extLst>
              <a:ext uri="{FF2B5EF4-FFF2-40B4-BE49-F238E27FC236}">
                <a16:creationId xmlns:a16="http://schemas.microsoft.com/office/drawing/2014/main" id="{CDBF19D4-5D72-E63B-B07E-752593F82796}"/>
              </a:ext>
            </a:extLst>
          </p:cNvPr>
          <p:cNvSpPr txBox="1"/>
          <p:nvPr/>
        </p:nvSpPr>
        <p:spPr>
          <a:xfrm>
            <a:off x="9815406" y="2317670"/>
            <a:ext cx="829074" cy="256545"/>
          </a:xfrm>
          <a:prstGeom prst="rect">
            <a:avLst/>
          </a:prstGeom>
          <a:noFill/>
        </p:spPr>
        <p:txBody>
          <a:bodyPr wrap="none" rtlCol="0">
            <a:spAutoFit/>
          </a:bodyPr>
          <a:lstStyle/>
          <a:p>
            <a:pPr algn="ctr" defTabSz="1219170" eaLnBrk="0" fontAlgn="base" hangingPunct="0">
              <a:spcBef>
                <a:spcPct val="0"/>
              </a:spcBef>
              <a:spcAft>
                <a:spcPct val="0"/>
              </a:spcAft>
            </a:pPr>
            <a:r>
              <a:rPr lang="en-US" sz="1067" b="1" err="1">
                <a:solidFill>
                  <a:srgbClr val="FFFFFF"/>
                </a:solidFill>
                <a:latin typeface="TT Commons Pro" panose="020B0103030102020204" pitchFamily="34" charset="77"/>
                <a:ea typeface="ＭＳ Ｐゴシック" charset="-128"/>
              </a:rPr>
              <a:t>Packshots</a:t>
            </a:r>
            <a:endParaRPr lang="en-US" sz="1067" b="1">
              <a:solidFill>
                <a:srgbClr val="FFFFFF"/>
              </a:solidFill>
              <a:latin typeface="TT Commons Pro" panose="020B0103030102020204" pitchFamily="34" charset="77"/>
              <a:ea typeface="ＭＳ Ｐゴシック" charset="-128"/>
            </a:endParaRPr>
          </a:p>
        </p:txBody>
      </p:sp>
    </p:spTree>
    <p:extLst>
      <p:ext uri="{BB962C8B-B14F-4D97-AF65-F5344CB8AC3E}">
        <p14:creationId xmlns:p14="http://schemas.microsoft.com/office/powerpoint/2010/main" val="36869692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A00FC-E867-5D9F-E07F-561BD3822F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1B38B-638F-DD3F-C640-530D20FFA13E}"/>
              </a:ext>
            </a:extLst>
          </p:cNvPr>
          <p:cNvSpPr>
            <a:spLocks noGrp="1"/>
          </p:cNvSpPr>
          <p:nvPr>
            <p:ph type="ctrTitle"/>
          </p:nvPr>
        </p:nvSpPr>
        <p:spPr/>
        <p:txBody>
          <a:bodyPr/>
          <a:lstStyle/>
          <a:p>
            <a:r>
              <a:rPr lang="en-US">
                <a:cs typeface="Times New Roman"/>
              </a:rPr>
              <a:t>Final Thoughts</a:t>
            </a:r>
            <a:endParaRPr lang="en-US"/>
          </a:p>
        </p:txBody>
      </p:sp>
    </p:spTree>
    <p:extLst>
      <p:ext uri="{BB962C8B-B14F-4D97-AF65-F5344CB8AC3E}">
        <p14:creationId xmlns:p14="http://schemas.microsoft.com/office/powerpoint/2010/main" val="30772199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E3071-4CD8-3320-1ED3-04D3D8603DC6}"/>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868E113-1354-05E0-C935-328215E4D67F}"/>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contrast="20000"/>
                    </a14:imgEffect>
                  </a14:imgLayer>
                </a14:imgProps>
              </a:ext>
            </a:extLst>
          </a:blip>
          <a:srcRect l="7276" t="13469" r="6314"/>
          <a:stretch>
            <a:fillRect/>
          </a:stretch>
        </p:blipFill>
        <p:spPr>
          <a:xfrm flipH="1">
            <a:off x="0" y="0"/>
            <a:ext cx="12192000" cy="6867627"/>
          </a:xfrm>
          <a:prstGeom prst="rect">
            <a:avLst/>
          </a:prstGeom>
        </p:spPr>
      </p:pic>
      <p:sp>
        <p:nvSpPr>
          <p:cNvPr id="13" name="Title 1">
            <a:extLst>
              <a:ext uri="{FF2B5EF4-FFF2-40B4-BE49-F238E27FC236}">
                <a16:creationId xmlns:a16="http://schemas.microsoft.com/office/drawing/2014/main" id="{383808E2-F1A0-59CE-9777-7789F981C5D5}"/>
              </a:ext>
            </a:extLst>
          </p:cNvPr>
          <p:cNvSpPr txBox="1">
            <a:spLocks/>
          </p:cNvSpPr>
          <p:nvPr/>
        </p:nvSpPr>
        <p:spPr>
          <a:xfrm>
            <a:off x="365759" y="382864"/>
            <a:ext cx="11347576" cy="149101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800" b="1" i="0" kern="1200">
                <a:solidFill>
                  <a:schemeClr val="tx2"/>
                </a:solidFill>
                <a:latin typeface="Tiempos Headline Semibold" panose="02020703060303060403" pitchFamily="18" charset="77"/>
                <a:ea typeface="+mj-ea"/>
                <a:cs typeface="Times New Roman" panose="02020603050405020304" pitchFamily="18" charset="0"/>
              </a:defRPr>
            </a:lvl1pPr>
          </a:lstStyle>
          <a:p>
            <a:r>
              <a:rPr lang="en-US">
                <a:solidFill>
                  <a:schemeClr val="bg1"/>
                </a:solidFill>
              </a:rPr>
              <a:t>Final Thoughts</a:t>
            </a:r>
            <a:endParaRPr lang="en-US" i="1">
              <a:solidFill>
                <a:schemeClr val="bg1"/>
              </a:solidFill>
            </a:endParaRPr>
          </a:p>
        </p:txBody>
      </p:sp>
      <p:sp>
        <p:nvSpPr>
          <p:cNvPr id="14" name="Subtitle 2">
            <a:extLst>
              <a:ext uri="{FF2B5EF4-FFF2-40B4-BE49-F238E27FC236}">
                <a16:creationId xmlns:a16="http://schemas.microsoft.com/office/drawing/2014/main" id="{F7FDDDD2-BC24-06B9-03C4-4382F2038A2C}"/>
              </a:ext>
            </a:extLst>
          </p:cNvPr>
          <p:cNvSpPr txBox="1">
            <a:spLocks/>
          </p:cNvSpPr>
          <p:nvPr/>
        </p:nvSpPr>
        <p:spPr>
          <a:xfrm>
            <a:off x="753415" y="3919581"/>
            <a:ext cx="6613300" cy="2669114"/>
          </a:xfrm>
          <a:prstGeom prst="rect">
            <a:avLst/>
          </a:prstGeom>
          <a:noFill/>
        </p:spPr>
        <p:txBody>
          <a:bodyPr vert="horz" lIns="182880" tIns="182880" rIns="91440" bIns="45720" rtlCol="0" anchor="ctr">
            <a:noAutofit/>
          </a:bodyPr>
          <a:lstStyle>
            <a:lvl1pPr marL="228600" indent="-228600" algn="l" defTabSz="914400" rtl="0" eaLnBrk="1" latinLnBrk="0" hangingPunct="1">
              <a:lnSpc>
                <a:spcPct val="90000"/>
              </a:lnSpc>
              <a:spcBef>
                <a:spcPts val="1000"/>
              </a:spcBef>
              <a:buFontTx/>
              <a:buBlip>
                <a:blip r:embed="rId5"/>
              </a:buBlip>
              <a:defRPr sz="1800" b="0" i="0" kern="1200">
                <a:solidFill>
                  <a:schemeClr val="tx2"/>
                </a:solidFill>
                <a:latin typeface="TT Commons Light" panose="02000506030000020003" pitchFamily="2" charset="77"/>
                <a:ea typeface="+mn-ea"/>
                <a:cs typeface="Arial" panose="020B0604020202020204" pitchFamily="34" charset="0"/>
              </a:defRPr>
            </a:lvl1pPr>
            <a:lvl2pPr marL="685800" indent="-228600" algn="l" defTabSz="914400" rtl="0" eaLnBrk="1" latinLnBrk="0" hangingPunct="1">
              <a:lnSpc>
                <a:spcPct val="90000"/>
              </a:lnSpc>
              <a:spcBef>
                <a:spcPts val="500"/>
              </a:spcBef>
              <a:buFontTx/>
              <a:buBlip>
                <a:blip r:embed="rId6"/>
              </a:buBlip>
              <a:defRPr sz="1800" b="0" i="0" kern="1200">
                <a:solidFill>
                  <a:schemeClr val="tx2"/>
                </a:solidFill>
                <a:latin typeface="TT Commons Light" panose="02000506030000020003" pitchFamily="2" charset="77"/>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b="0" i="0" kern="1200">
                <a:solidFill>
                  <a:schemeClr val="tx2"/>
                </a:solidFill>
                <a:latin typeface="TT Commons Light" panose="02000506030000020003" pitchFamily="2" charset="77"/>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TT Commons Light" panose="02000506030000020003" pitchFamily="2" charset="77"/>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tx2"/>
                </a:solidFill>
                <a:latin typeface="TT Commons Light" panose="02000506030000020003" pitchFamily="2" charset="77"/>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663" indent="-347663"/>
            <a:r>
              <a:rPr lang="en-US" sz="2400">
                <a:solidFill>
                  <a:schemeClr val="bg1"/>
                </a:solidFill>
                <a:latin typeface="TT Commons Pro" panose="020B0103030102020204" pitchFamily="34" charset="77"/>
              </a:rPr>
              <a:t>Focus on where AI can deliver tangible benefits in operational efficiency</a:t>
            </a:r>
          </a:p>
          <a:p>
            <a:pPr marL="347663" indent="-347663"/>
            <a:r>
              <a:rPr lang="en-CA" sz="2400">
                <a:solidFill>
                  <a:schemeClr val="bg1"/>
                </a:solidFill>
                <a:latin typeface="TT Commons Pro" panose="020B0103030102020204" pitchFamily="34" charset="77"/>
              </a:rPr>
              <a:t>AI as an accelerator, not a replacement</a:t>
            </a:r>
          </a:p>
          <a:p>
            <a:pPr marL="347663" indent="-347663"/>
            <a:r>
              <a:rPr lang="en-CA" sz="2400">
                <a:solidFill>
                  <a:schemeClr val="bg1"/>
                </a:solidFill>
                <a:latin typeface="TT Commons Pro" panose="020B0103030102020204" pitchFamily="34" charset="77"/>
              </a:rPr>
              <a:t>Set goals for continuous improvement</a:t>
            </a:r>
          </a:p>
          <a:p>
            <a:pPr marL="347663" indent="-347663"/>
            <a:r>
              <a:rPr lang="en-CA" sz="2400">
                <a:solidFill>
                  <a:schemeClr val="bg1"/>
                </a:solidFill>
                <a:latin typeface="TT Commons Pro" panose="020B0103030102020204" pitchFamily="34" charset="77"/>
              </a:rPr>
              <a:t>Operational gains start with AI – </a:t>
            </a:r>
            <a:r>
              <a:rPr lang="en-CA" sz="2400" b="1">
                <a:solidFill>
                  <a:schemeClr val="bg1"/>
                </a:solidFill>
                <a:latin typeface="TT Commons Pro" panose="020B0103030102020204" pitchFamily="34" charset="77"/>
              </a:rPr>
              <a:t>Today</a:t>
            </a:r>
          </a:p>
        </p:txBody>
      </p:sp>
      <p:sp>
        <p:nvSpPr>
          <p:cNvPr id="2" name="TextBox 1">
            <a:extLst>
              <a:ext uri="{FF2B5EF4-FFF2-40B4-BE49-F238E27FC236}">
                <a16:creationId xmlns:a16="http://schemas.microsoft.com/office/drawing/2014/main" id="{0AE36761-E384-7403-9126-81F1EB8F783E}"/>
              </a:ext>
            </a:extLst>
          </p:cNvPr>
          <p:cNvSpPr txBox="1"/>
          <p:nvPr/>
        </p:nvSpPr>
        <p:spPr>
          <a:xfrm>
            <a:off x="7845807" y="6480973"/>
            <a:ext cx="4180541" cy="215444"/>
          </a:xfrm>
          <a:prstGeom prst="rect">
            <a:avLst/>
          </a:prstGeom>
          <a:noFill/>
        </p:spPr>
        <p:txBody>
          <a:bodyPr wrap="square" anchor="b">
            <a:spAutoFit/>
          </a:bodyPr>
          <a:lstStyle/>
          <a:p>
            <a:pPr algn="r"/>
            <a:r>
              <a:rPr lang="en-US" sz="800">
                <a:solidFill>
                  <a:schemeClr val="tx2">
                    <a:lumMod val="60000"/>
                    <a:lumOff val="40000"/>
                  </a:schemeClr>
                </a:solidFill>
                <a:latin typeface="TT Commons Pro" panose="020B0103030102020204" pitchFamily="34" charset="77"/>
                <a:hlinkClick r:id="rId7">
                  <a:extLst>
                    <a:ext uri="{A12FA001-AC4F-418D-AE19-62706E023703}">
                      <ahyp:hlinkClr xmlns:ahyp="http://schemas.microsoft.com/office/drawing/2018/hyperlinkcolor" val="tx"/>
                    </a:ext>
                  </a:extLst>
                </a:hlinkClick>
              </a:rPr>
              <a:t>Deloitte, State of AI in the Enterprise Jan 2026</a:t>
            </a:r>
            <a:endParaRPr lang="en-US" sz="800">
              <a:solidFill>
                <a:schemeClr val="tx2">
                  <a:lumMod val="60000"/>
                  <a:lumOff val="40000"/>
                </a:schemeClr>
              </a:solidFill>
              <a:latin typeface="TT Commons Pro" panose="020B0103030102020204" pitchFamily="34" charset="77"/>
            </a:endParaRPr>
          </a:p>
        </p:txBody>
      </p:sp>
    </p:spTree>
    <p:extLst>
      <p:ext uri="{BB962C8B-B14F-4D97-AF65-F5344CB8AC3E}">
        <p14:creationId xmlns:p14="http://schemas.microsoft.com/office/powerpoint/2010/main" val="34178340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A90A-BD89-431B-C28D-134CE220BA2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EBB83FD-0A63-0D2F-5CC9-A42786824B2C}"/>
              </a:ext>
            </a:extLst>
          </p:cNvPr>
          <p:cNvSpPr>
            <a:spLocks noGrp="1"/>
          </p:cNvSpPr>
          <p:nvPr>
            <p:ph type="title"/>
          </p:nvPr>
        </p:nvSpPr>
        <p:spPr>
          <a:xfrm>
            <a:off x="347196" y="199378"/>
            <a:ext cx="7599069" cy="1944954"/>
          </a:xfrm>
        </p:spPr>
        <p:txBody>
          <a:bodyPr>
            <a:normAutofit/>
          </a:bodyPr>
          <a:lstStyle/>
          <a:p>
            <a:r>
              <a:rPr lang="en-US" sz="4000" dirty="0"/>
              <a:t>Come see us at our table to discuss what your next steps should be…</a:t>
            </a:r>
          </a:p>
        </p:txBody>
      </p:sp>
      <p:sp>
        <p:nvSpPr>
          <p:cNvPr id="9" name="Text Placeholder 8">
            <a:extLst>
              <a:ext uri="{FF2B5EF4-FFF2-40B4-BE49-F238E27FC236}">
                <a16:creationId xmlns:a16="http://schemas.microsoft.com/office/drawing/2014/main" id="{A11A004D-ED90-9206-491C-F3ACA3299D62}"/>
              </a:ext>
            </a:extLst>
          </p:cNvPr>
          <p:cNvSpPr>
            <a:spLocks noGrp="1"/>
          </p:cNvSpPr>
          <p:nvPr>
            <p:ph type="body" sz="quarter" idx="20"/>
          </p:nvPr>
        </p:nvSpPr>
        <p:spPr>
          <a:xfrm>
            <a:off x="1675804" y="5056695"/>
            <a:ext cx="3391410" cy="1070976"/>
          </a:xfrm>
        </p:spPr>
        <p:txBody>
          <a:bodyPr>
            <a:normAutofit lnSpcReduction="10000"/>
          </a:bodyPr>
          <a:lstStyle/>
          <a:p>
            <a:pPr algn="ctr"/>
            <a:r>
              <a:rPr lang="en-US" b="1" dirty="0">
                <a:cs typeface="Arial"/>
              </a:rPr>
              <a:t>Samantha Thompson</a:t>
            </a:r>
            <a:endParaRPr lang="en-US" b="1" dirty="0"/>
          </a:p>
          <a:p>
            <a:pPr algn="ctr"/>
            <a:r>
              <a:rPr lang="en-US" dirty="0">
                <a:cs typeface="Arial"/>
              </a:rPr>
              <a:t>Strategic Development Manager</a:t>
            </a:r>
            <a:endParaRPr lang="en-US" dirty="0"/>
          </a:p>
          <a:p>
            <a:pPr algn="ctr"/>
            <a:r>
              <a:rPr lang="en-US" dirty="0">
                <a:cs typeface="Arial"/>
                <a:hlinkClick r:id="rId2"/>
              </a:rPr>
              <a:t>Samantha.Thompson@esko.com</a:t>
            </a:r>
            <a:endParaRPr lang="en-US" sz="1400" dirty="0">
              <a:hlinkClick r:id="" action="ppaction://noaction"/>
            </a:endParaRPr>
          </a:p>
        </p:txBody>
      </p:sp>
      <p:sp>
        <p:nvSpPr>
          <p:cNvPr id="2" name="Text Placeholder 8">
            <a:extLst>
              <a:ext uri="{FF2B5EF4-FFF2-40B4-BE49-F238E27FC236}">
                <a16:creationId xmlns:a16="http://schemas.microsoft.com/office/drawing/2014/main" id="{EF62D987-ECD2-D437-8E79-048151AEEA37}"/>
              </a:ext>
            </a:extLst>
          </p:cNvPr>
          <p:cNvSpPr txBox="1">
            <a:spLocks/>
          </p:cNvSpPr>
          <p:nvPr/>
        </p:nvSpPr>
        <p:spPr>
          <a:xfrm>
            <a:off x="6500424" y="5011464"/>
            <a:ext cx="2891682" cy="1070976"/>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Tx/>
              <a:buNone/>
              <a:defRPr sz="1800" b="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Tx/>
              <a:buBlip>
                <a:blip r:embed="rId3"/>
              </a:buBlip>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dirty="0">
                <a:latin typeface="TT Commons Pro" panose="020B0103030102020204" pitchFamily="34" charset="77"/>
                <a:cs typeface="Arial"/>
              </a:rPr>
              <a:t>David Meister</a:t>
            </a:r>
          </a:p>
          <a:p>
            <a:pPr algn="ctr"/>
            <a:r>
              <a:rPr lang="en-US" dirty="0">
                <a:latin typeface="TT Commons Pro" panose="020B0103030102020204" pitchFamily="34" charset="77"/>
                <a:cs typeface="Arial"/>
              </a:rPr>
              <a:t>Solution Consultant</a:t>
            </a:r>
            <a:endParaRPr lang="en-US" dirty="0">
              <a:latin typeface="TT Commons Pro" panose="020B0103030102020204" pitchFamily="34" charset="77"/>
            </a:endParaRPr>
          </a:p>
          <a:p>
            <a:pPr algn="ctr"/>
            <a:r>
              <a:rPr lang="en-US" dirty="0">
                <a:latin typeface="TT Commons Pro" panose="020B0103030102020204" pitchFamily="34" charset="77"/>
                <a:cs typeface="Arial"/>
                <a:hlinkClick r:id="rId4"/>
              </a:rPr>
              <a:t>David.Meister@esko.com</a:t>
            </a:r>
            <a:endParaRPr lang="en-US" dirty="0">
              <a:latin typeface="TT Commons Pro" panose="020B0103030102020204" pitchFamily="34" charset="77"/>
            </a:endParaRPr>
          </a:p>
          <a:p>
            <a:pPr algn="ctr"/>
            <a:endParaRPr lang="en-US" sz="1400" dirty="0">
              <a:latin typeface="TT Commons Pro" panose="020B0103030102020204" pitchFamily="34" charset="77"/>
            </a:endParaRPr>
          </a:p>
        </p:txBody>
      </p:sp>
      <p:pic>
        <p:nvPicPr>
          <p:cNvPr id="4" name="Picture 3" descr="A blue and black logo&#10;&#10;AI-generated content may be incorrect.">
            <a:hlinkClick r:id="rId5"/>
            <a:extLst>
              <a:ext uri="{FF2B5EF4-FFF2-40B4-BE49-F238E27FC236}">
                <a16:creationId xmlns:a16="http://schemas.microsoft.com/office/drawing/2014/main" id="{0059A528-47BA-1882-A0FE-EF33BCFB619A}"/>
              </a:ext>
            </a:extLst>
          </p:cNvPr>
          <p:cNvPicPr>
            <a:picLocks noChangeAspect="1"/>
          </p:cNvPicPr>
          <p:nvPr/>
        </p:nvPicPr>
        <p:blipFill>
          <a:blip r:embed="rId6"/>
          <a:stretch>
            <a:fillRect/>
          </a:stretch>
        </p:blipFill>
        <p:spPr>
          <a:xfrm>
            <a:off x="3246575" y="6124687"/>
            <a:ext cx="249866" cy="212057"/>
          </a:xfrm>
          <a:prstGeom prst="rect">
            <a:avLst/>
          </a:prstGeom>
        </p:spPr>
      </p:pic>
      <p:pic>
        <p:nvPicPr>
          <p:cNvPr id="6" name="Picture 5" descr="A blue and black logo&#10;&#10;AI-generated content may be incorrect.">
            <a:hlinkClick r:id="rId7"/>
            <a:extLst>
              <a:ext uri="{FF2B5EF4-FFF2-40B4-BE49-F238E27FC236}">
                <a16:creationId xmlns:a16="http://schemas.microsoft.com/office/drawing/2014/main" id="{1A841F03-B085-E09D-60F0-E83D00CD01D4}"/>
              </a:ext>
            </a:extLst>
          </p:cNvPr>
          <p:cNvPicPr>
            <a:picLocks noChangeAspect="1"/>
          </p:cNvPicPr>
          <p:nvPr/>
        </p:nvPicPr>
        <p:blipFill>
          <a:blip r:embed="rId6"/>
          <a:stretch>
            <a:fillRect/>
          </a:stretch>
        </p:blipFill>
        <p:spPr>
          <a:xfrm>
            <a:off x="7958892" y="6124687"/>
            <a:ext cx="249866" cy="212057"/>
          </a:xfrm>
          <a:prstGeom prst="rect">
            <a:avLst/>
          </a:prstGeom>
        </p:spPr>
      </p:pic>
      <p:pic>
        <p:nvPicPr>
          <p:cNvPr id="3" name="Picture 2" descr="A green arrow pointing upwards&#10;&#10;AI-generated content may be incorrect.">
            <a:extLst>
              <a:ext uri="{FF2B5EF4-FFF2-40B4-BE49-F238E27FC236}">
                <a16:creationId xmlns:a16="http://schemas.microsoft.com/office/drawing/2014/main" id="{9E6D24A1-14BC-8BC6-3517-BDEA44DFE5FC}"/>
              </a:ext>
            </a:extLst>
          </p:cNvPr>
          <p:cNvPicPr>
            <a:picLocks noChangeAspect="1"/>
          </p:cNvPicPr>
          <p:nvPr/>
        </p:nvPicPr>
        <p:blipFill>
          <a:blip r:embed="rId8"/>
          <a:stretch>
            <a:fillRect/>
          </a:stretch>
        </p:blipFill>
        <p:spPr>
          <a:xfrm rot="4292157">
            <a:off x="9695527" y="2366414"/>
            <a:ext cx="899189" cy="878208"/>
          </a:xfrm>
          <a:prstGeom prst="rect">
            <a:avLst/>
          </a:prstGeom>
        </p:spPr>
      </p:pic>
      <p:pic>
        <p:nvPicPr>
          <p:cNvPr id="11" name="Picture 10" descr="A qr code on a white background&#10;&#10;AI-generated content may be incorrect.">
            <a:extLst>
              <a:ext uri="{FF2B5EF4-FFF2-40B4-BE49-F238E27FC236}">
                <a16:creationId xmlns:a16="http://schemas.microsoft.com/office/drawing/2014/main" id="{2F9C3DDE-7E78-78FB-7735-FCCA4B146DE6}"/>
              </a:ext>
            </a:extLst>
          </p:cNvPr>
          <p:cNvPicPr>
            <a:picLocks noChangeAspect="1"/>
          </p:cNvPicPr>
          <p:nvPr/>
        </p:nvPicPr>
        <p:blipFill>
          <a:blip r:embed="rId9"/>
          <a:stretch>
            <a:fillRect/>
          </a:stretch>
        </p:blipFill>
        <p:spPr>
          <a:xfrm>
            <a:off x="10145122" y="2984136"/>
            <a:ext cx="1696590" cy="1696590"/>
          </a:xfrm>
          <a:prstGeom prst="rect">
            <a:avLst/>
          </a:prstGeom>
        </p:spPr>
      </p:pic>
      <p:sp>
        <p:nvSpPr>
          <p:cNvPr id="7" name="TextBox 6">
            <a:extLst>
              <a:ext uri="{FF2B5EF4-FFF2-40B4-BE49-F238E27FC236}">
                <a16:creationId xmlns:a16="http://schemas.microsoft.com/office/drawing/2014/main" id="{45342A25-7482-EFDF-35EE-D0C45B71746D}"/>
              </a:ext>
            </a:extLst>
          </p:cNvPr>
          <p:cNvSpPr txBox="1"/>
          <p:nvPr/>
        </p:nvSpPr>
        <p:spPr>
          <a:xfrm>
            <a:off x="10363651" y="4564524"/>
            <a:ext cx="1259532" cy="338554"/>
          </a:xfrm>
          <a:prstGeom prst="rect">
            <a:avLst/>
          </a:prstGeom>
          <a:noFill/>
        </p:spPr>
        <p:txBody>
          <a:bodyPr wrap="square" rtlCol="0">
            <a:spAutoFit/>
          </a:bodyPr>
          <a:lstStyle/>
          <a:p>
            <a:pPr algn="ctr"/>
            <a:r>
              <a:rPr lang="en-US" sz="1600" i="1">
                <a:solidFill>
                  <a:schemeClr val="accent6"/>
                </a:solidFill>
                <a:latin typeface="TT Commons Pro Light" panose="020B0103030102020204" pitchFamily="34" charset="77"/>
                <a:cs typeface="Arial" panose="020B0604020202020204" pitchFamily="34" charset="0"/>
              </a:rPr>
              <a:t>Learn more!</a:t>
            </a:r>
          </a:p>
        </p:txBody>
      </p:sp>
      <p:sp>
        <p:nvSpPr>
          <p:cNvPr id="10" name="Oval 9">
            <a:extLst>
              <a:ext uri="{FF2B5EF4-FFF2-40B4-BE49-F238E27FC236}">
                <a16:creationId xmlns:a16="http://schemas.microsoft.com/office/drawing/2014/main" id="{8AF9BDBE-4299-D5B9-6A8E-4A95961B0B19}"/>
              </a:ext>
            </a:extLst>
          </p:cNvPr>
          <p:cNvSpPr>
            <a:spLocks noChangeAspect="1"/>
          </p:cNvSpPr>
          <p:nvPr/>
        </p:nvSpPr>
        <p:spPr>
          <a:xfrm>
            <a:off x="5094940" y="2547492"/>
            <a:ext cx="2597495" cy="2597490"/>
          </a:xfrm>
          <a:prstGeom prst="ellipse">
            <a:avLst/>
          </a:prstGeom>
          <a:blipFill dpi="0" rotWithShape="1">
            <a:blip r:embed="rId10">
              <a:grayscl/>
              <a:extLst>
                <a:ext uri="{28A0092B-C50C-407E-A947-70E740481C1C}">
                  <a14:useLocalDpi xmlns:a14="http://schemas.microsoft.com/office/drawing/2010/main" val="0"/>
                </a:ext>
              </a:extLst>
            </a:blip>
            <a:srcRect/>
            <a:stretch>
              <a:fillRect/>
            </a:stretch>
          </a:blipFill>
          <a:ln w="28575">
            <a:noFill/>
          </a:ln>
          <a:effectLst>
            <a:outerShdw blurRad="50800" dist="63500" dir="2700000" sx="1000" sy="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2"/>
              </a:solidFill>
              <a:effectLst/>
            </a:endParaRPr>
          </a:p>
        </p:txBody>
      </p:sp>
      <p:pic>
        <p:nvPicPr>
          <p:cNvPr id="12" name="Picture Placeholder 35">
            <a:extLst>
              <a:ext uri="{FF2B5EF4-FFF2-40B4-BE49-F238E27FC236}">
                <a16:creationId xmlns:a16="http://schemas.microsoft.com/office/drawing/2014/main" id="{2E05EBBE-6161-0398-02EC-36C7E85FF040}"/>
              </a:ext>
            </a:extLst>
          </p:cNvPr>
          <p:cNvPicPr>
            <a:picLocks noChangeAspect="1"/>
          </p:cNvPicPr>
          <p:nvPr/>
        </p:nvPicPr>
        <p:blipFill>
          <a:blip r:embed="rId11">
            <a:grayscl/>
            <a:extLst>
              <a:ext uri="{BEBA8EAE-BF5A-486C-A8C5-ECC9F3942E4B}">
                <a14:imgProps xmlns:a14="http://schemas.microsoft.com/office/drawing/2010/main">
                  <a14:imgLayer r:embed="rId12">
                    <a14:imgEffect>
                      <a14:colorTemperature colorTemp="7200"/>
                    </a14:imgEffect>
                  </a14:imgLayer>
                </a14:imgProps>
              </a:ext>
            </a:extLst>
          </a:blip>
          <a:srcRect t="11192" b="22142"/>
          <a:stretch>
            <a:fillRect/>
          </a:stretch>
        </p:blipFill>
        <p:spPr>
          <a:xfrm>
            <a:off x="377059" y="2547492"/>
            <a:ext cx="2597489" cy="2597489"/>
          </a:xfrm>
          <a:prstGeom prst="ellipse">
            <a:avLst/>
          </a:prstGeom>
          <a:ln w="25400">
            <a:noFill/>
          </a:ln>
          <a:effectLst>
            <a:outerShdw blurRad="50800" dist="63500" dir="2700000" sx="1000" sy="1000" kx="-1200000" algn="bl" rotWithShape="0">
              <a:prstClr val="black"/>
            </a:outerShdw>
          </a:effectLst>
        </p:spPr>
      </p:pic>
    </p:spTree>
    <p:extLst>
      <p:ext uri="{BB962C8B-B14F-4D97-AF65-F5344CB8AC3E}">
        <p14:creationId xmlns:p14="http://schemas.microsoft.com/office/powerpoint/2010/main" val="1060304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AB7B05-FA65-8C8C-68AF-816B2B3A5E18}"/>
            </a:ext>
          </a:extLst>
        </p:cNvPr>
        <p:cNvGrpSpPr/>
        <p:nvPr/>
      </p:nvGrpSpPr>
      <p:grpSpPr>
        <a:xfrm>
          <a:off x="0" y="0"/>
          <a:ext cx="0" cy="0"/>
          <a:chOff x="0" y="0"/>
          <a:chExt cx="0" cy="0"/>
        </a:xfrm>
      </p:grpSpPr>
      <p:pic>
        <p:nvPicPr>
          <p:cNvPr id="3" name="Picture 2" descr="A hand pointing at a graph&#10;&#10;AI-generated content may be incorrect.">
            <a:extLst>
              <a:ext uri="{FF2B5EF4-FFF2-40B4-BE49-F238E27FC236}">
                <a16:creationId xmlns:a16="http://schemas.microsoft.com/office/drawing/2014/main" id="{C98DC4D2-518A-D2EB-50E0-D2DF2C924015}"/>
              </a:ext>
            </a:extLst>
          </p:cNvPr>
          <p:cNvPicPr>
            <a:picLocks noChangeAspect="1"/>
          </p:cNvPicPr>
          <p:nvPr/>
        </p:nvPicPr>
        <p:blipFill>
          <a:blip r:embed="rId3"/>
          <a:srcRect l="1" t="352" r="-284" b="8385"/>
          <a:stretch>
            <a:fillRect/>
          </a:stretch>
        </p:blipFill>
        <p:spPr>
          <a:xfrm>
            <a:off x="3360152" y="665974"/>
            <a:ext cx="3192324" cy="4106507"/>
          </a:xfrm>
          <a:prstGeom prst="rect">
            <a:avLst/>
          </a:prstGeom>
          <a:effectLst>
            <a:outerShdw blurRad="50800" dist="38100" dir="2700000" algn="tl" rotWithShape="0">
              <a:prstClr val="black">
                <a:alpha val="56000"/>
              </a:prstClr>
            </a:outerShdw>
          </a:effectLst>
        </p:spPr>
      </p:pic>
      <p:sp>
        <p:nvSpPr>
          <p:cNvPr id="16" name="object 15">
            <a:extLst>
              <a:ext uri="{FF2B5EF4-FFF2-40B4-BE49-F238E27FC236}">
                <a16:creationId xmlns:a16="http://schemas.microsoft.com/office/drawing/2014/main" id="{AF826C5C-8624-C7D6-C69F-CFD0DABF4EA2}"/>
              </a:ext>
            </a:extLst>
          </p:cNvPr>
          <p:cNvSpPr txBox="1"/>
          <p:nvPr/>
        </p:nvSpPr>
        <p:spPr>
          <a:xfrm>
            <a:off x="379927" y="343992"/>
            <a:ext cx="2749639" cy="4996633"/>
          </a:xfrm>
          <a:prstGeom prst="rect">
            <a:avLst/>
          </a:prstGeom>
        </p:spPr>
        <p:txBody>
          <a:bodyPr vert="horz" wrap="square" lIns="0" tIns="12700" rIns="0" bIns="0" rtlCol="0" anchor="t">
            <a:noAutofit/>
          </a:bodyPr>
          <a:lstStyle/>
          <a:p>
            <a:r>
              <a:rPr lang="en-US" sz="3300" b="1">
                <a:solidFill>
                  <a:schemeClr val="accent6"/>
                </a:solidFill>
                <a:latin typeface="Tiempos Headline Semibold" panose="02020703060303060403" pitchFamily="18" charset="77"/>
                <a:cs typeface="Times New Roman"/>
              </a:rPr>
              <a:t>Which technology do you believe will have the greatest impact on packaging in your industry </a:t>
            </a:r>
            <a:br>
              <a:rPr lang="en-US" sz="3300" b="1">
                <a:solidFill>
                  <a:schemeClr val="accent6"/>
                </a:solidFill>
                <a:latin typeface="Tiempos Headline Semibold" panose="02020703060303060403" pitchFamily="18" charset="77"/>
                <a:cs typeface="Times New Roman"/>
              </a:rPr>
            </a:br>
            <a:r>
              <a:rPr lang="en-US" sz="3300" b="1">
                <a:solidFill>
                  <a:schemeClr val="accent6"/>
                </a:solidFill>
                <a:latin typeface="Tiempos Headline Semibold" panose="02020703060303060403" pitchFamily="18" charset="77"/>
                <a:cs typeface="Times New Roman"/>
              </a:rPr>
              <a:t>in 2026?</a:t>
            </a:r>
          </a:p>
        </p:txBody>
      </p:sp>
      <p:pic>
        <p:nvPicPr>
          <p:cNvPr id="2" name="Picture 1" descr="A screenshot of a graph&#10;&#10;AI-generated content may be incorrect.">
            <a:extLst>
              <a:ext uri="{FF2B5EF4-FFF2-40B4-BE49-F238E27FC236}">
                <a16:creationId xmlns:a16="http://schemas.microsoft.com/office/drawing/2014/main" id="{489250B2-A2DF-A4A3-F0A1-6AFF9B407E41}"/>
              </a:ext>
            </a:extLst>
          </p:cNvPr>
          <p:cNvPicPr>
            <a:picLocks noChangeAspect="1"/>
          </p:cNvPicPr>
          <p:nvPr/>
        </p:nvPicPr>
        <p:blipFill>
          <a:blip r:embed="rId4"/>
          <a:srcRect l="46891" t="19883" r="4464" b="19800"/>
          <a:stretch>
            <a:fillRect/>
          </a:stretch>
        </p:blipFill>
        <p:spPr>
          <a:xfrm>
            <a:off x="5826501" y="2474527"/>
            <a:ext cx="5669300" cy="3954155"/>
          </a:xfrm>
          <a:prstGeom prst="rect">
            <a:avLst/>
          </a:prstGeom>
        </p:spPr>
      </p:pic>
    </p:spTree>
    <p:extLst>
      <p:ext uri="{BB962C8B-B14F-4D97-AF65-F5344CB8AC3E}">
        <p14:creationId xmlns:p14="http://schemas.microsoft.com/office/powerpoint/2010/main" val="3010963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600BCE5-D23C-D488-872B-09FAEACDFBBD}"/>
              </a:ext>
            </a:extLst>
          </p:cNvPr>
          <p:cNvSpPr>
            <a:spLocks noGrp="1"/>
          </p:cNvSpPr>
          <p:nvPr>
            <p:ph type="title"/>
          </p:nvPr>
        </p:nvSpPr>
        <p:spPr>
          <a:xfrm>
            <a:off x="594591" y="680037"/>
            <a:ext cx="8281035" cy="2432957"/>
          </a:xfrm>
        </p:spPr>
        <p:txBody>
          <a:bodyPr>
            <a:normAutofit/>
          </a:bodyPr>
          <a:lstStyle/>
          <a:p>
            <a:r>
              <a:rPr lang="en-US" sz="6000"/>
              <a:t>Thank You… </a:t>
            </a:r>
            <a:br>
              <a:rPr lang="en-US" sz="6000"/>
            </a:br>
            <a:r>
              <a:rPr lang="en-US" sz="6000" i="1">
                <a:solidFill>
                  <a:schemeClr val="accent1"/>
                </a:solidFill>
              </a:rPr>
              <a:t>Any questions?</a:t>
            </a:r>
          </a:p>
        </p:txBody>
      </p:sp>
    </p:spTree>
    <p:extLst>
      <p:ext uri="{BB962C8B-B14F-4D97-AF65-F5344CB8AC3E}">
        <p14:creationId xmlns:p14="http://schemas.microsoft.com/office/powerpoint/2010/main" val="1451854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31599-029A-71F3-B715-9167414D0668}"/>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39FB8453-B615-150D-A711-EC3352D44CF9}"/>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40000"/>
                    </a14:imgEffect>
                  </a14:imgLayer>
                </a14:imgProps>
              </a:ext>
            </a:extLst>
          </a:blip>
          <a:srcRect l="88" r="-28"/>
          <a:stretch>
            <a:fillRect/>
          </a:stretch>
        </p:blipFill>
        <p:spPr>
          <a:xfrm>
            <a:off x="-1" y="0"/>
            <a:ext cx="12228513" cy="6858000"/>
          </a:xfrm>
          <a:prstGeom prst="rect">
            <a:avLst/>
          </a:prstGeom>
        </p:spPr>
      </p:pic>
      <p:pic>
        <p:nvPicPr>
          <p:cNvPr id="6" name="Graphic 5">
            <a:extLst>
              <a:ext uri="{FF2B5EF4-FFF2-40B4-BE49-F238E27FC236}">
                <a16:creationId xmlns:a16="http://schemas.microsoft.com/office/drawing/2014/main" id="{DE425FB2-079A-93CD-69FC-2A4E386B7F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79772" y="2647075"/>
            <a:ext cx="4902915" cy="1563850"/>
          </a:xfrm>
          <a:prstGeom prst="rect">
            <a:avLst/>
          </a:prstGeom>
        </p:spPr>
      </p:pic>
      <p:sp>
        <p:nvSpPr>
          <p:cNvPr id="4" name="object 15">
            <a:extLst>
              <a:ext uri="{FF2B5EF4-FFF2-40B4-BE49-F238E27FC236}">
                <a16:creationId xmlns:a16="http://schemas.microsoft.com/office/drawing/2014/main" id="{6394A9A2-8387-B24A-9946-65341E768E11}"/>
              </a:ext>
            </a:extLst>
          </p:cNvPr>
          <p:cNvSpPr txBox="1"/>
          <p:nvPr/>
        </p:nvSpPr>
        <p:spPr>
          <a:xfrm>
            <a:off x="773474" y="1118623"/>
            <a:ext cx="10681562" cy="2782813"/>
          </a:xfrm>
          <a:prstGeom prst="rect">
            <a:avLst/>
          </a:prstGeom>
        </p:spPr>
        <p:txBody>
          <a:bodyPr vert="horz" wrap="square" lIns="0" tIns="12700" rIns="0" bIns="0" rtlCol="0" anchor="t">
            <a:spAutoFit/>
          </a:bodyPr>
          <a:lstStyle/>
          <a:p>
            <a:pPr algn="ctr"/>
            <a:r>
              <a:rPr lang="en-US" sz="6000" b="1">
                <a:solidFill>
                  <a:schemeClr val="bg1"/>
                </a:solidFill>
                <a:latin typeface="Tiempos Headline Semibold" panose="02020703060303060403" pitchFamily="18" charset="77"/>
                <a:cs typeface="Times New Roman"/>
              </a:rPr>
              <a:t>How many people are using ChatGPT or a similar tool for PERSONAL use today?</a:t>
            </a:r>
          </a:p>
        </p:txBody>
      </p:sp>
    </p:spTree>
    <p:extLst>
      <p:ext uri="{BB962C8B-B14F-4D97-AF65-F5344CB8AC3E}">
        <p14:creationId xmlns:p14="http://schemas.microsoft.com/office/powerpoint/2010/main" val="41327132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3D91D-455D-2906-C4EC-D7E73D5A58A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CDE5CD1B-7948-433C-B1FE-CBCFA149A46B}"/>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40000"/>
                    </a14:imgEffect>
                  </a14:imgLayer>
                </a14:imgProps>
              </a:ext>
            </a:extLst>
          </a:blip>
          <a:srcRect l="8826" r="4512" b="13287"/>
          <a:stretch>
            <a:fillRect/>
          </a:stretch>
        </p:blipFill>
        <p:spPr>
          <a:xfrm>
            <a:off x="-1" y="0"/>
            <a:ext cx="12228513" cy="6858000"/>
          </a:xfrm>
          <a:prstGeom prst="rect">
            <a:avLst/>
          </a:prstGeom>
        </p:spPr>
      </p:pic>
      <p:pic>
        <p:nvPicPr>
          <p:cNvPr id="5" name="Graphic 4">
            <a:extLst>
              <a:ext uri="{FF2B5EF4-FFF2-40B4-BE49-F238E27FC236}">
                <a16:creationId xmlns:a16="http://schemas.microsoft.com/office/drawing/2014/main" id="{B8229146-86E5-F047-43B1-7B87569A2BB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52727" y="2697547"/>
            <a:ext cx="4486097" cy="1430900"/>
          </a:xfrm>
          <a:prstGeom prst="rect">
            <a:avLst/>
          </a:prstGeom>
        </p:spPr>
      </p:pic>
      <p:sp>
        <p:nvSpPr>
          <p:cNvPr id="7" name="object 15">
            <a:extLst>
              <a:ext uri="{FF2B5EF4-FFF2-40B4-BE49-F238E27FC236}">
                <a16:creationId xmlns:a16="http://schemas.microsoft.com/office/drawing/2014/main" id="{98A96A16-19E8-35A1-F299-D0A8D40B058C}"/>
              </a:ext>
            </a:extLst>
          </p:cNvPr>
          <p:cNvSpPr txBox="1"/>
          <p:nvPr/>
        </p:nvSpPr>
        <p:spPr>
          <a:xfrm>
            <a:off x="773474" y="1118623"/>
            <a:ext cx="10681562" cy="2782813"/>
          </a:xfrm>
          <a:prstGeom prst="rect">
            <a:avLst/>
          </a:prstGeom>
        </p:spPr>
        <p:txBody>
          <a:bodyPr vert="horz" wrap="square" lIns="0" tIns="12700" rIns="0" bIns="0" rtlCol="0" anchor="t">
            <a:spAutoFit/>
          </a:bodyPr>
          <a:lstStyle/>
          <a:p>
            <a:pPr algn="ctr"/>
            <a:r>
              <a:rPr lang="en-US" sz="6000" b="1">
                <a:solidFill>
                  <a:schemeClr val="bg1"/>
                </a:solidFill>
                <a:latin typeface="Tiempos Headline Semibold" panose="02020703060303060403" pitchFamily="18" charset="77"/>
                <a:cs typeface="Times New Roman"/>
              </a:rPr>
              <a:t>How many people are using ChatGPT or a similar tool for BUSINESS use today?</a:t>
            </a:r>
          </a:p>
        </p:txBody>
      </p:sp>
    </p:spTree>
    <p:extLst>
      <p:ext uri="{BB962C8B-B14F-4D97-AF65-F5344CB8AC3E}">
        <p14:creationId xmlns:p14="http://schemas.microsoft.com/office/powerpoint/2010/main" val="1894011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a:extLst>
              <a:ext uri="{FF2B5EF4-FFF2-40B4-BE49-F238E27FC236}">
                <a16:creationId xmlns:a16="http://schemas.microsoft.com/office/drawing/2014/main" id="{0A2DBBF2-30FF-ABB6-D533-742DC32D3D07}"/>
              </a:ext>
            </a:extLst>
          </p:cNvPr>
          <p:cNvSpPr txBox="1">
            <a:spLocks/>
          </p:cNvSpPr>
          <p:nvPr/>
        </p:nvSpPr>
        <p:spPr>
          <a:xfrm>
            <a:off x="383117" y="268291"/>
            <a:ext cx="11298599" cy="88407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5200" b="1" i="0" kern="1200">
                <a:solidFill>
                  <a:schemeClr val="bg1"/>
                </a:solidFill>
                <a:latin typeface="Tiempos Headline Semibold" panose="02020703060303060403" pitchFamily="18" charset="77"/>
                <a:ea typeface="+mj-ea"/>
                <a:cs typeface="Times New Roman" panose="02020603050405020304" pitchFamily="18" charset="0"/>
              </a:defRPr>
            </a:lvl1pPr>
          </a:lstStyle>
          <a:p>
            <a:r>
              <a:rPr lang="en-US" sz="4800">
                <a:solidFill>
                  <a:schemeClr val="tx2"/>
                </a:solidFill>
              </a:rPr>
              <a:t>AI Use</a:t>
            </a:r>
          </a:p>
        </p:txBody>
      </p:sp>
      <p:graphicFrame>
        <p:nvGraphicFramePr>
          <p:cNvPr id="11" name="Table 2">
            <a:extLst>
              <a:ext uri="{FF2B5EF4-FFF2-40B4-BE49-F238E27FC236}">
                <a16:creationId xmlns:a16="http://schemas.microsoft.com/office/drawing/2014/main" id="{715B78B3-FA60-78D6-2FD1-48E6E59CB5E2}"/>
              </a:ext>
            </a:extLst>
          </p:cNvPr>
          <p:cNvGraphicFramePr>
            <a:graphicFrameLocks noGrp="1"/>
          </p:cNvGraphicFramePr>
          <p:nvPr>
            <p:extLst>
              <p:ext uri="{D42A27DB-BD31-4B8C-83A1-F6EECF244321}">
                <p14:modId xmlns:p14="http://schemas.microsoft.com/office/powerpoint/2010/main" val="2856965972"/>
              </p:ext>
            </p:extLst>
          </p:nvPr>
        </p:nvGraphicFramePr>
        <p:xfrm>
          <a:off x="383117" y="1712783"/>
          <a:ext cx="11038219" cy="3892887"/>
        </p:xfrm>
        <a:graphic>
          <a:graphicData uri="http://schemas.openxmlformats.org/drawingml/2006/table">
            <a:tbl>
              <a:tblPr firstRow="1" bandRow="1">
                <a:effectLst>
                  <a:outerShdw blurRad="50800" dist="63500" dir="2700000" algn="tl" rotWithShape="0">
                    <a:prstClr val="black">
                      <a:alpha val="56000"/>
                    </a:prstClr>
                  </a:outerShdw>
                </a:effectLst>
                <a:tableStyleId>{5C22544A-7EE6-4342-B048-85BDC9FD1C3A}</a:tableStyleId>
              </a:tblPr>
              <a:tblGrid>
                <a:gridCol w="2692223">
                  <a:extLst>
                    <a:ext uri="{9D8B030D-6E8A-4147-A177-3AD203B41FA5}">
                      <a16:colId xmlns:a16="http://schemas.microsoft.com/office/drawing/2014/main" val="3118456266"/>
                    </a:ext>
                  </a:extLst>
                </a:gridCol>
                <a:gridCol w="4171880">
                  <a:extLst>
                    <a:ext uri="{9D8B030D-6E8A-4147-A177-3AD203B41FA5}">
                      <a16:colId xmlns:a16="http://schemas.microsoft.com/office/drawing/2014/main" val="840971054"/>
                    </a:ext>
                  </a:extLst>
                </a:gridCol>
                <a:gridCol w="4174116">
                  <a:extLst>
                    <a:ext uri="{9D8B030D-6E8A-4147-A177-3AD203B41FA5}">
                      <a16:colId xmlns:a16="http://schemas.microsoft.com/office/drawing/2014/main" val="2385695716"/>
                    </a:ext>
                  </a:extLst>
                </a:gridCol>
              </a:tblGrid>
              <a:tr h="734115">
                <a:tc>
                  <a:txBody>
                    <a:bodyPr/>
                    <a:lstStyle/>
                    <a:p>
                      <a:pPr algn="ctr"/>
                      <a:endParaRPr lang="en-US" sz="2100" b="1" i="0">
                        <a:solidFill>
                          <a:schemeClr val="bg1"/>
                        </a:solidFill>
                        <a:latin typeface="Tiempos Headline Semibold" panose="02020703060303060403" pitchFamily="18" charset="77"/>
                      </a:endParaRPr>
                    </a:p>
                  </a:txBody>
                  <a:tcPr marL="164745" marR="164745" marT="82373" marB="82373" anchor="ctr"/>
                </a:tc>
                <a:tc>
                  <a:txBody>
                    <a:bodyPr/>
                    <a:lstStyle/>
                    <a:p>
                      <a:pPr algn="ctr"/>
                      <a:r>
                        <a:rPr lang="en-US" sz="2100" b="1" i="0">
                          <a:solidFill>
                            <a:schemeClr val="bg1"/>
                          </a:solidFill>
                          <a:latin typeface="Tiempos Headline Semibold" panose="02020703060303060403" pitchFamily="18" charset="77"/>
                        </a:rPr>
                        <a:t>Personal AI Use</a:t>
                      </a:r>
                    </a:p>
                  </a:txBody>
                  <a:tcPr marL="164745" marR="164745" marT="82373" marB="8237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100" b="1" i="0">
                          <a:solidFill>
                            <a:schemeClr val="bg1"/>
                          </a:solidFill>
                          <a:latin typeface="Tiempos Headline Semibold" panose="02020703060303060403" pitchFamily="18" charset="77"/>
                        </a:rPr>
                        <a:t>Business AI Use</a:t>
                      </a:r>
                    </a:p>
                  </a:txBody>
                  <a:tcPr marL="164745" marR="164745" marT="82373" marB="82373" anchor="ctr"/>
                </a:tc>
                <a:extLst>
                  <a:ext uri="{0D108BD9-81ED-4DB2-BD59-A6C34878D82A}">
                    <a16:rowId xmlns:a16="http://schemas.microsoft.com/office/drawing/2014/main" val="2052454283"/>
                  </a:ext>
                </a:extLst>
              </a:tr>
              <a:tr h="734115">
                <a:tc>
                  <a:txBody>
                    <a:bodyPr/>
                    <a:lstStyle/>
                    <a:p>
                      <a:r>
                        <a:rPr lang="en-US" sz="2100" b="0" i="0">
                          <a:solidFill>
                            <a:schemeClr val="bg1"/>
                          </a:solidFill>
                          <a:latin typeface="TT Commons Medium" panose="02000506040000020004" pitchFamily="2" charset="77"/>
                        </a:rPr>
                        <a:t>Scale of Users</a:t>
                      </a:r>
                    </a:p>
                  </a:txBody>
                  <a:tcPr marL="164745" marR="164745" marT="82373" marB="82373" anchor="ctr">
                    <a:solidFill>
                      <a:schemeClr val="tx2"/>
                    </a:solidFill>
                  </a:tcPr>
                </a:tc>
                <a:tc>
                  <a:txBody>
                    <a:bodyPr/>
                    <a:lstStyle/>
                    <a:p>
                      <a:pPr algn="ctr"/>
                      <a:r>
                        <a:rPr lang="en-US" sz="2100" b="0" i="0">
                          <a:solidFill>
                            <a:schemeClr val="bg1"/>
                          </a:solidFill>
                          <a:latin typeface="TT Commons Medium"/>
                        </a:rPr>
                        <a:t>66% of U.S. adults</a:t>
                      </a:r>
                      <a:endParaRPr lang="en-US" sz="2100" b="0" i="0">
                        <a:solidFill>
                          <a:schemeClr val="bg1"/>
                        </a:solidFill>
                        <a:latin typeface="TT Commons Medium" panose="02000506040000020004" pitchFamily="2" charset="77"/>
                      </a:endParaRPr>
                    </a:p>
                  </a:txBody>
                  <a:tcPr marL="164745" marR="164745" marT="82373" marB="82373" anchor="c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100" b="0" i="0" kern="1200">
                          <a:solidFill>
                            <a:schemeClr val="bg1"/>
                          </a:solidFill>
                          <a:latin typeface="TT Commons Medium" panose="02000506040000020004" pitchFamily="2" charset="77"/>
                          <a:ea typeface="+mn-ea"/>
                          <a:cs typeface="+mn-cs"/>
                        </a:rPr>
                        <a:t>78% of companies worldwide</a:t>
                      </a:r>
                    </a:p>
                  </a:txBody>
                  <a:tcPr marL="164745" marR="164745" marT="82373" marB="82373" anchor="ctr">
                    <a:solidFill>
                      <a:schemeClr val="tx2">
                        <a:lumMod val="60000"/>
                        <a:lumOff val="40000"/>
                      </a:schemeClr>
                    </a:solidFill>
                  </a:tcPr>
                </a:tc>
                <a:extLst>
                  <a:ext uri="{0D108BD9-81ED-4DB2-BD59-A6C34878D82A}">
                    <a16:rowId xmlns:a16="http://schemas.microsoft.com/office/drawing/2014/main" val="355139340"/>
                  </a:ext>
                </a:extLst>
              </a:tr>
              <a:tr h="808219">
                <a:tc>
                  <a:txBody>
                    <a:bodyPr/>
                    <a:lstStyle/>
                    <a:p>
                      <a:r>
                        <a:rPr lang="en-US" sz="2100" b="0" i="0">
                          <a:solidFill>
                            <a:schemeClr val="bg1"/>
                          </a:solidFill>
                          <a:latin typeface="TT Commons Medium" panose="02000506040000020004" pitchFamily="2" charset="77"/>
                        </a:rPr>
                        <a:t>Purpose</a:t>
                      </a:r>
                    </a:p>
                  </a:txBody>
                  <a:tcPr marL="164745" marR="164745" marT="82373" marB="82373" anchor="c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100" b="0" i="0" kern="1200">
                          <a:solidFill>
                            <a:schemeClr val="bg1"/>
                          </a:solidFill>
                          <a:latin typeface="TT Commons Medium" panose="02000506040000020004" pitchFamily="2" charset="77"/>
                          <a:ea typeface="+mn-ea"/>
                          <a:cs typeface="+mn-cs"/>
                        </a:rPr>
                        <a:t>Daily life, tasks, learning</a:t>
                      </a:r>
                    </a:p>
                  </a:txBody>
                  <a:tcPr marL="164745" marR="164745" marT="82373" marB="82373" anchor="c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100" b="0" i="0" kern="1200">
                          <a:solidFill>
                            <a:schemeClr val="bg1"/>
                          </a:solidFill>
                          <a:latin typeface="TT Commons Medium"/>
                          <a:ea typeface="+mn-ea"/>
                          <a:cs typeface="+mn-cs"/>
                        </a:rPr>
                        <a:t>Operational, strategic, </a:t>
                      </a:r>
                      <a:br>
                        <a:rPr lang="en-CA" sz="2100" b="0" i="0" kern="1200">
                          <a:solidFill>
                            <a:srgbClr val="FFFFFF"/>
                          </a:solidFill>
                          <a:latin typeface="TT Commons Medium"/>
                          <a:ea typeface="+mn-ea"/>
                          <a:cs typeface="+mn-cs"/>
                        </a:rPr>
                      </a:br>
                      <a:r>
                        <a:rPr lang="en-CA" sz="2100" b="0" i="0" kern="1200">
                          <a:solidFill>
                            <a:schemeClr val="bg1"/>
                          </a:solidFill>
                          <a:latin typeface="TT Commons Medium"/>
                          <a:ea typeface="+mn-ea"/>
                          <a:cs typeface="+mn-cs"/>
                        </a:rPr>
                        <a:t>analytical tasks</a:t>
                      </a:r>
                    </a:p>
                  </a:txBody>
                  <a:tcPr marL="164745" marR="164745" marT="82373" marB="82373" anchor="ctr">
                    <a:solidFill>
                      <a:schemeClr val="tx2">
                        <a:lumMod val="60000"/>
                        <a:lumOff val="40000"/>
                      </a:schemeClr>
                    </a:solidFill>
                  </a:tcPr>
                </a:tc>
                <a:extLst>
                  <a:ext uri="{0D108BD9-81ED-4DB2-BD59-A6C34878D82A}">
                    <a16:rowId xmlns:a16="http://schemas.microsoft.com/office/drawing/2014/main" val="2778789738"/>
                  </a:ext>
                </a:extLst>
              </a:tr>
              <a:tr h="808219">
                <a:tc>
                  <a:txBody>
                    <a:bodyPr/>
                    <a:lstStyle/>
                    <a:p>
                      <a:r>
                        <a:rPr lang="en-US" sz="2100" b="0" i="0">
                          <a:solidFill>
                            <a:schemeClr val="bg1"/>
                          </a:solidFill>
                          <a:latin typeface="TT Commons Medium" panose="02000506040000020004" pitchFamily="2" charset="77"/>
                        </a:rPr>
                        <a:t>Reported Benefits</a:t>
                      </a:r>
                    </a:p>
                  </a:txBody>
                  <a:tcPr marL="164745" marR="164745" marT="82373" marB="82373" anchor="c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100" b="0" i="0" kern="1200">
                          <a:solidFill>
                            <a:schemeClr val="bg1"/>
                          </a:solidFill>
                          <a:latin typeface="TT Commons Medium" panose="02000506040000020004" pitchFamily="2" charset="77"/>
                          <a:ea typeface="+mn-ea"/>
                          <a:cs typeface="+mn-cs"/>
                        </a:rPr>
                        <a:t>Convenience, speed, creativity</a:t>
                      </a:r>
                    </a:p>
                  </a:txBody>
                  <a:tcPr marL="164745" marR="164745" marT="82373" marB="82373" anchor="c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100" b="0" i="0" kern="1200">
                          <a:solidFill>
                            <a:schemeClr val="bg1"/>
                          </a:solidFill>
                          <a:latin typeface="TT Commons Medium"/>
                          <a:ea typeface="+mn-ea"/>
                          <a:cs typeface="+mn-cs"/>
                        </a:rPr>
                        <a:t>Efficiency, productivity, </a:t>
                      </a:r>
                      <a:br>
                        <a:rPr lang="en-CA" sz="2100" b="0" i="0" kern="1200">
                          <a:solidFill>
                            <a:srgbClr val="FFFFFF"/>
                          </a:solidFill>
                          <a:latin typeface="TT Commons Medium"/>
                          <a:ea typeface="+mn-ea"/>
                          <a:cs typeface="+mn-cs"/>
                        </a:rPr>
                      </a:br>
                      <a:r>
                        <a:rPr lang="en-CA" sz="2100" b="0" i="0" kern="1200">
                          <a:solidFill>
                            <a:schemeClr val="bg1"/>
                          </a:solidFill>
                          <a:latin typeface="TT Commons Medium"/>
                          <a:ea typeface="+mn-ea"/>
                          <a:cs typeface="+mn-cs"/>
                        </a:rPr>
                        <a:t>competitive advantage</a:t>
                      </a:r>
                    </a:p>
                  </a:txBody>
                  <a:tcPr marL="164745" marR="164745" marT="82373" marB="82373" anchor="ctr">
                    <a:solidFill>
                      <a:schemeClr val="tx2">
                        <a:lumMod val="60000"/>
                        <a:lumOff val="40000"/>
                      </a:schemeClr>
                    </a:solidFill>
                  </a:tcPr>
                </a:tc>
                <a:extLst>
                  <a:ext uri="{0D108BD9-81ED-4DB2-BD59-A6C34878D82A}">
                    <a16:rowId xmlns:a16="http://schemas.microsoft.com/office/drawing/2014/main" val="2072260672"/>
                  </a:ext>
                </a:extLst>
              </a:tr>
              <a:tr h="808219">
                <a:tc>
                  <a:txBody>
                    <a:bodyPr/>
                    <a:lstStyle/>
                    <a:p>
                      <a:r>
                        <a:rPr lang="en-US" sz="2100" b="0" i="0">
                          <a:solidFill>
                            <a:schemeClr val="bg1"/>
                          </a:solidFill>
                          <a:latin typeface="TT Commons Medium" panose="02000506040000020004" pitchFamily="2" charset="77"/>
                        </a:rPr>
                        <a:t>Current Challenges</a:t>
                      </a:r>
                    </a:p>
                  </a:txBody>
                  <a:tcPr marL="164745" marR="164745" marT="82373" marB="82373" anchor="c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100" b="0" i="0" kern="1200">
                          <a:solidFill>
                            <a:schemeClr val="bg1"/>
                          </a:solidFill>
                          <a:latin typeface="TT Commons Medium" panose="02000506040000020004" pitchFamily="2" charset="77"/>
                          <a:ea typeface="+mn-ea"/>
                          <a:cs typeface="+mn-cs"/>
                        </a:rPr>
                        <a:t>Skill awareness, responsible use</a:t>
                      </a:r>
                    </a:p>
                  </a:txBody>
                  <a:tcPr marL="164745" marR="164745" marT="82373" marB="82373" anchor="c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100" b="0" i="0" kern="1200">
                          <a:solidFill>
                            <a:schemeClr val="bg1"/>
                          </a:solidFill>
                          <a:latin typeface="TT Commons Medium" panose="02000506040000020004" pitchFamily="2" charset="77"/>
                          <a:ea typeface="+mn-ea"/>
                          <a:cs typeface="+mn-cs"/>
                        </a:rPr>
                        <a:t>Integration, outcomes measurement, compliance</a:t>
                      </a:r>
                    </a:p>
                  </a:txBody>
                  <a:tcPr marL="164745" marR="164745" marT="82373" marB="82373" anchor="ctr">
                    <a:solidFill>
                      <a:schemeClr val="tx2">
                        <a:lumMod val="60000"/>
                        <a:lumOff val="40000"/>
                      </a:schemeClr>
                    </a:solidFill>
                  </a:tcPr>
                </a:tc>
                <a:extLst>
                  <a:ext uri="{0D108BD9-81ED-4DB2-BD59-A6C34878D82A}">
                    <a16:rowId xmlns:a16="http://schemas.microsoft.com/office/drawing/2014/main" val="1586630313"/>
                  </a:ext>
                </a:extLst>
              </a:tr>
            </a:tbl>
          </a:graphicData>
        </a:graphic>
      </p:graphicFrame>
      <p:sp>
        <p:nvSpPr>
          <p:cNvPr id="14" name="TextBox 13">
            <a:extLst>
              <a:ext uri="{FF2B5EF4-FFF2-40B4-BE49-F238E27FC236}">
                <a16:creationId xmlns:a16="http://schemas.microsoft.com/office/drawing/2014/main" id="{180C9C13-D9FF-109D-9D06-6C16D8169CD4}"/>
              </a:ext>
            </a:extLst>
          </p:cNvPr>
          <p:cNvSpPr txBox="1"/>
          <p:nvPr/>
        </p:nvSpPr>
        <p:spPr>
          <a:xfrm>
            <a:off x="7845807" y="6357863"/>
            <a:ext cx="4346193" cy="500137"/>
          </a:xfrm>
          <a:prstGeom prst="rect">
            <a:avLst/>
          </a:prstGeom>
          <a:noFill/>
        </p:spPr>
        <p:txBody>
          <a:bodyPr wrap="square">
            <a:spAutoFit/>
          </a:bodyPr>
          <a:lstStyle/>
          <a:p>
            <a:pPr>
              <a:spcBef>
                <a:spcPts val="300"/>
              </a:spcBef>
            </a:pPr>
            <a:r>
              <a:rPr lang="en-US" sz="800">
                <a:solidFill>
                  <a:schemeClr val="tx2">
                    <a:lumMod val="60000"/>
                    <a:lumOff val="40000"/>
                  </a:schemeClr>
                </a:solidFill>
                <a:latin typeface="TT Commons Pro" panose="020B0103030102020204" pitchFamily="34" charset="77"/>
              </a:rPr>
              <a:t>https://explodingtopics.com/blog/ai-usage-statistics</a:t>
            </a:r>
            <a:endParaRPr lang="en-CA" sz="800">
              <a:solidFill>
                <a:schemeClr val="tx2">
                  <a:lumMod val="60000"/>
                  <a:lumOff val="40000"/>
                </a:schemeClr>
              </a:solidFill>
              <a:latin typeface="TT Commons Pro" panose="020B0103030102020204" pitchFamily="34" charset="77"/>
            </a:endParaRPr>
          </a:p>
          <a:p>
            <a:pPr>
              <a:spcBef>
                <a:spcPts val="300"/>
              </a:spcBef>
            </a:pPr>
            <a:r>
              <a:rPr lang="en-CA" sz="800">
                <a:solidFill>
                  <a:schemeClr val="tx2">
                    <a:lumMod val="60000"/>
                    <a:lumOff val="40000"/>
                  </a:schemeClr>
                </a:solidFill>
                <a:effectLst/>
                <a:latin typeface="TT Commons Pro" panose="020B0103030102020204" pitchFamily="34" charset="77"/>
              </a:rPr>
              <a:t>KPMG, </a:t>
            </a:r>
            <a:r>
              <a:rPr lang="en-CA" sz="800" u="sng">
                <a:solidFill>
                  <a:schemeClr val="tx2">
                    <a:lumMod val="60000"/>
                    <a:lumOff val="40000"/>
                  </a:schemeClr>
                </a:solidFill>
                <a:effectLst/>
                <a:latin typeface="TT Commons Pro" panose="020B0103030102020204" pitchFamily="34" charset="77"/>
                <a:hlinkClick r:id="rId3">
                  <a:extLst>
                    <a:ext uri="{A12FA001-AC4F-418D-AE19-62706E023703}">
                      <ahyp:hlinkClr xmlns:ahyp="http://schemas.microsoft.com/office/drawing/2018/hyperlinkcolor" val="tx"/>
                    </a:ext>
                  </a:extLst>
                </a:hlinkClick>
              </a:rPr>
              <a:t>Trust, attitudes and use of Artificial Intelligence: A global study 2025opens in a new tab</a:t>
            </a:r>
            <a:br>
              <a:rPr lang="en-CA" sz="800">
                <a:solidFill>
                  <a:schemeClr val="tx2">
                    <a:lumMod val="60000"/>
                    <a:lumOff val="40000"/>
                  </a:schemeClr>
                </a:solidFill>
                <a:latin typeface="TT Commons Pro" panose="020B0103030102020204" pitchFamily="34" charset="77"/>
              </a:rPr>
            </a:br>
            <a:endParaRPr lang="en-US" sz="800">
              <a:solidFill>
                <a:schemeClr val="tx2">
                  <a:lumMod val="60000"/>
                  <a:lumOff val="40000"/>
                </a:schemeClr>
              </a:solidFill>
              <a:latin typeface="TT Commons Pro" panose="020B0103030102020204" pitchFamily="34" charset="77"/>
            </a:endParaRPr>
          </a:p>
        </p:txBody>
      </p:sp>
    </p:spTree>
    <p:extLst>
      <p:ext uri="{BB962C8B-B14F-4D97-AF65-F5344CB8AC3E}">
        <p14:creationId xmlns:p14="http://schemas.microsoft.com/office/powerpoint/2010/main" val="26295496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E01AF-4A00-B999-83EA-2B898FBDCF97}"/>
            </a:ext>
          </a:extLst>
        </p:cNvPr>
        <p:cNvGrpSpPr/>
        <p:nvPr/>
      </p:nvGrpSpPr>
      <p:grpSpPr>
        <a:xfrm>
          <a:off x="0" y="0"/>
          <a:ext cx="0" cy="0"/>
          <a:chOff x="0" y="0"/>
          <a:chExt cx="0" cy="0"/>
        </a:xfrm>
      </p:grpSpPr>
      <p:sp>
        <p:nvSpPr>
          <p:cNvPr id="10" name="Title 3">
            <a:extLst>
              <a:ext uri="{FF2B5EF4-FFF2-40B4-BE49-F238E27FC236}">
                <a16:creationId xmlns:a16="http://schemas.microsoft.com/office/drawing/2014/main" id="{FF3EDDE9-4DF4-52E3-9CDF-BCD0C7AD8460}"/>
              </a:ext>
            </a:extLst>
          </p:cNvPr>
          <p:cNvSpPr txBox="1">
            <a:spLocks/>
          </p:cNvSpPr>
          <p:nvPr/>
        </p:nvSpPr>
        <p:spPr>
          <a:xfrm>
            <a:off x="383117" y="268291"/>
            <a:ext cx="11298599" cy="88407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5200" b="1" i="0" kern="1200">
                <a:solidFill>
                  <a:schemeClr val="bg1"/>
                </a:solidFill>
                <a:latin typeface="Tiempos Headline Semibold" panose="02020703060303060403" pitchFamily="18" charset="77"/>
                <a:ea typeface="+mj-ea"/>
                <a:cs typeface="Times New Roman" panose="02020603050405020304" pitchFamily="18" charset="0"/>
              </a:defRPr>
            </a:lvl1pPr>
          </a:lstStyle>
          <a:p>
            <a:r>
              <a:rPr lang="en-US" sz="4800">
                <a:solidFill>
                  <a:schemeClr val="tx2"/>
                </a:solidFill>
              </a:rPr>
              <a:t>AI Use: Business</a:t>
            </a:r>
          </a:p>
        </p:txBody>
      </p:sp>
      <p:sp>
        <p:nvSpPr>
          <p:cNvPr id="14" name="TextBox 13">
            <a:extLst>
              <a:ext uri="{FF2B5EF4-FFF2-40B4-BE49-F238E27FC236}">
                <a16:creationId xmlns:a16="http://schemas.microsoft.com/office/drawing/2014/main" id="{65500575-F794-8238-CFAE-BE993BB9FD09}"/>
              </a:ext>
            </a:extLst>
          </p:cNvPr>
          <p:cNvSpPr txBox="1"/>
          <p:nvPr/>
        </p:nvSpPr>
        <p:spPr>
          <a:xfrm>
            <a:off x="7845807" y="6480973"/>
            <a:ext cx="4180541" cy="215444"/>
          </a:xfrm>
          <a:prstGeom prst="rect">
            <a:avLst/>
          </a:prstGeom>
          <a:noFill/>
        </p:spPr>
        <p:txBody>
          <a:bodyPr wrap="square" anchor="b">
            <a:spAutoFit/>
          </a:bodyPr>
          <a:lstStyle/>
          <a:p>
            <a:pPr algn="r"/>
            <a:r>
              <a:rPr lang="en-US" sz="800">
                <a:solidFill>
                  <a:schemeClr val="tx2">
                    <a:lumMod val="60000"/>
                    <a:lumOff val="40000"/>
                  </a:schemeClr>
                </a:solidFill>
                <a:latin typeface="TT Commons Pro" panose="020B0103030102020204" pitchFamily="34" charset="77"/>
                <a:hlinkClick r:id="rId3">
                  <a:extLst>
                    <a:ext uri="{A12FA001-AC4F-418D-AE19-62706E023703}">
                      <ahyp:hlinkClr xmlns:ahyp="http://schemas.microsoft.com/office/drawing/2018/hyperlinkcolor" val="tx"/>
                    </a:ext>
                  </a:extLst>
                </a:hlinkClick>
              </a:rPr>
              <a:t>Deloitte, State of AI in the Enterprise Jan 2026</a:t>
            </a:r>
            <a:endParaRPr lang="en-US" sz="800">
              <a:solidFill>
                <a:schemeClr val="tx2">
                  <a:lumMod val="60000"/>
                  <a:lumOff val="40000"/>
                </a:schemeClr>
              </a:solidFill>
              <a:latin typeface="TT Commons Pro" panose="020B0103030102020204" pitchFamily="34" charset="77"/>
            </a:endParaRPr>
          </a:p>
        </p:txBody>
      </p:sp>
      <p:sp>
        <p:nvSpPr>
          <p:cNvPr id="2" name="Content Placeholder 3">
            <a:extLst>
              <a:ext uri="{FF2B5EF4-FFF2-40B4-BE49-F238E27FC236}">
                <a16:creationId xmlns:a16="http://schemas.microsoft.com/office/drawing/2014/main" id="{3CA5D595-3FE2-0F31-D45D-972B3464AF0A}"/>
              </a:ext>
            </a:extLst>
          </p:cNvPr>
          <p:cNvSpPr>
            <a:spLocks noGrp="1"/>
          </p:cNvSpPr>
          <p:nvPr>
            <p:ph idx="1"/>
          </p:nvPr>
        </p:nvSpPr>
        <p:spPr>
          <a:xfrm>
            <a:off x="365124" y="1786248"/>
            <a:ext cx="4676955" cy="2948167"/>
          </a:xfrm>
        </p:spPr>
        <p:txBody>
          <a:bodyPr>
            <a:normAutofit/>
          </a:bodyPr>
          <a:lstStyle/>
          <a:p>
            <a:pPr>
              <a:lnSpc>
                <a:spcPct val="110000"/>
              </a:lnSpc>
            </a:pPr>
            <a:r>
              <a:rPr lang="en-CA">
                <a:ea typeface="Times New Roman" panose="02020603050405020304" pitchFamily="18" charset="0"/>
              </a:rPr>
              <a:t>Business AI adoption is widespread among organizations but varies in maturity and measurable impact — many firms are still experimenting or scaling use cases.</a:t>
            </a:r>
          </a:p>
          <a:p>
            <a:pPr>
              <a:lnSpc>
                <a:spcPct val="110000"/>
              </a:lnSpc>
            </a:pPr>
            <a:r>
              <a:rPr lang="en-CA">
                <a:ea typeface="Times New Roman" panose="02020603050405020304" pitchFamily="18" charset="0"/>
              </a:rPr>
              <a:t>Surveys show business leaders are optimistic about future productivity gains, even if immediate results are mixed.</a:t>
            </a:r>
          </a:p>
        </p:txBody>
      </p:sp>
      <p:pic>
        <p:nvPicPr>
          <p:cNvPr id="4" name="Picture 3" descr="A group of people sitting around a table&#10;&#10;AI-generated content may be incorrect.">
            <a:extLst>
              <a:ext uri="{FF2B5EF4-FFF2-40B4-BE49-F238E27FC236}">
                <a16:creationId xmlns:a16="http://schemas.microsoft.com/office/drawing/2014/main" id="{0B63F0CB-2DE9-3183-4837-6F18A81E72C8}"/>
              </a:ext>
            </a:extLst>
          </p:cNvPr>
          <p:cNvPicPr>
            <a:picLocks noChangeAspect="1"/>
          </p:cNvPicPr>
          <p:nvPr/>
        </p:nvPicPr>
        <p:blipFill>
          <a:blip r:embed="rId4"/>
          <a:stretch>
            <a:fillRect/>
          </a:stretch>
        </p:blipFill>
        <p:spPr>
          <a:xfrm>
            <a:off x="5417489" y="1870743"/>
            <a:ext cx="6046631" cy="4033370"/>
          </a:xfrm>
          <a:prstGeom prst="rect">
            <a:avLst/>
          </a:prstGeom>
          <a:effectLst>
            <a:outerShdw blurRad="50800" dist="38100" dir="2700000" algn="tl" rotWithShape="0">
              <a:prstClr val="black">
                <a:alpha val="56000"/>
              </a:prstClr>
            </a:outerShdw>
          </a:effectLst>
        </p:spPr>
      </p:pic>
    </p:spTree>
    <p:extLst>
      <p:ext uri="{BB962C8B-B14F-4D97-AF65-F5344CB8AC3E}">
        <p14:creationId xmlns:p14="http://schemas.microsoft.com/office/powerpoint/2010/main" val="3745938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636BDC-4B29-5EF2-88E6-92036D8F07A5}"/>
            </a:ext>
          </a:extLst>
        </p:cNvPr>
        <p:cNvGrpSpPr/>
        <p:nvPr/>
      </p:nvGrpSpPr>
      <p:grpSpPr>
        <a:xfrm>
          <a:off x="0" y="0"/>
          <a:ext cx="0" cy="0"/>
          <a:chOff x="0" y="0"/>
          <a:chExt cx="0" cy="0"/>
        </a:xfrm>
      </p:grpSpPr>
      <p:sp>
        <p:nvSpPr>
          <p:cNvPr id="10" name="Title 3">
            <a:extLst>
              <a:ext uri="{FF2B5EF4-FFF2-40B4-BE49-F238E27FC236}">
                <a16:creationId xmlns:a16="http://schemas.microsoft.com/office/drawing/2014/main" id="{C0A2DEC0-4C50-0247-88B5-78416FC232C3}"/>
              </a:ext>
            </a:extLst>
          </p:cNvPr>
          <p:cNvSpPr txBox="1">
            <a:spLocks/>
          </p:cNvSpPr>
          <p:nvPr/>
        </p:nvSpPr>
        <p:spPr>
          <a:xfrm>
            <a:off x="383117" y="268291"/>
            <a:ext cx="11298599" cy="88407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5200" b="1" i="0" kern="1200">
                <a:solidFill>
                  <a:schemeClr val="bg1"/>
                </a:solidFill>
                <a:latin typeface="Tiempos Headline Semibold" panose="02020703060303060403" pitchFamily="18" charset="77"/>
                <a:ea typeface="+mj-ea"/>
                <a:cs typeface="Times New Roman" panose="02020603050405020304" pitchFamily="18" charset="0"/>
              </a:defRPr>
            </a:lvl1pPr>
          </a:lstStyle>
          <a:p>
            <a:r>
              <a:rPr lang="en-US" sz="4800">
                <a:solidFill>
                  <a:schemeClr val="tx2"/>
                </a:solidFill>
              </a:rPr>
              <a:t>AI Use: Quality</a:t>
            </a:r>
          </a:p>
        </p:txBody>
      </p:sp>
      <p:sp>
        <p:nvSpPr>
          <p:cNvPr id="14" name="TextBox 13">
            <a:extLst>
              <a:ext uri="{FF2B5EF4-FFF2-40B4-BE49-F238E27FC236}">
                <a16:creationId xmlns:a16="http://schemas.microsoft.com/office/drawing/2014/main" id="{5D3ADA30-5900-9359-A2BD-2B0F73916747}"/>
              </a:ext>
            </a:extLst>
          </p:cNvPr>
          <p:cNvSpPr txBox="1"/>
          <p:nvPr/>
        </p:nvSpPr>
        <p:spPr>
          <a:xfrm>
            <a:off x="7845807" y="6480973"/>
            <a:ext cx="4180541" cy="215444"/>
          </a:xfrm>
          <a:prstGeom prst="rect">
            <a:avLst/>
          </a:prstGeom>
          <a:noFill/>
        </p:spPr>
        <p:txBody>
          <a:bodyPr wrap="square" anchor="b">
            <a:spAutoFit/>
          </a:bodyPr>
          <a:lstStyle/>
          <a:p>
            <a:pPr algn="r"/>
            <a:r>
              <a:rPr lang="en-CA" sz="800">
                <a:solidFill>
                  <a:schemeClr val="tx2">
                    <a:lumMod val="60000"/>
                    <a:lumOff val="40000"/>
                  </a:schemeClr>
                </a:solidFill>
                <a:latin typeface="TT Commons Pro" panose="020B0103030102020204" pitchFamily="34" charset="77"/>
                <a:hlinkClick r:id="rId3">
                  <a:extLst>
                    <a:ext uri="{A12FA001-AC4F-418D-AE19-62706E023703}">
                      <ahyp:hlinkClr xmlns:ahyp="http://schemas.microsoft.com/office/drawing/2018/hyperlinkcolor" val="tx"/>
                    </a:ext>
                  </a:extLst>
                </a:hlinkClick>
              </a:rPr>
              <a:t>Stanford HAI's 2025 Artificial Intelligence Index Report</a:t>
            </a:r>
            <a:endParaRPr lang="en-CA" sz="800">
              <a:solidFill>
                <a:schemeClr val="tx2">
                  <a:lumMod val="60000"/>
                  <a:lumOff val="40000"/>
                </a:schemeClr>
              </a:solidFill>
              <a:latin typeface="TT Commons Pro" panose="020B0103030102020204" pitchFamily="34" charset="77"/>
            </a:endParaRPr>
          </a:p>
        </p:txBody>
      </p:sp>
      <p:sp>
        <p:nvSpPr>
          <p:cNvPr id="2" name="Content Placeholder 3">
            <a:extLst>
              <a:ext uri="{FF2B5EF4-FFF2-40B4-BE49-F238E27FC236}">
                <a16:creationId xmlns:a16="http://schemas.microsoft.com/office/drawing/2014/main" id="{7FF480E3-3ED9-647E-0CD5-51E0D766730D}"/>
              </a:ext>
            </a:extLst>
          </p:cNvPr>
          <p:cNvSpPr>
            <a:spLocks noGrp="1"/>
          </p:cNvSpPr>
          <p:nvPr>
            <p:ph idx="1"/>
          </p:nvPr>
        </p:nvSpPr>
        <p:spPr>
          <a:xfrm>
            <a:off x="365124" y="1786248"/>
            <a:ext cx="6769772" cy="2948167"/>
          </a:xfrm>
        </p:spPr>
        <p:txBody>
          <a:bodyPr>
            <a:normAutofit/>
          </a:bodyPr>
          <a:lstStyle/>
          <a:p>
            <a:pPr>
              <a:lnSpc>
                <a:spcPct val="110000"/>
              </a:lnSpc>
            </a:pPr>
            <a:r>
              <a:rPr lang="en-CA">
                <a:ea typeface="Times New Roman" panose="02020603050405020304" pitchFamily="18" charset="0"/>
              </a:rPr>
              <a:t>Across several benchmarks (e.g., multimodal reasoning, advanced QA, software engineering), models showed performance jumps ranging from ~19% to ~67% year-over-year</a:t>
            </a:r>
          </a:p>
          <a:p>
            <a:pPr>
              <a:lnSpc>
                <a:spcPct val="110000"/>
              </a:lnSpc>
            </a:pPr>
            <a:r>
              <a:rPr lang="en-CA">
                <a:ea typeface="Times New Roman" panose="02020603050405020304" pitchFamily="18" charset="0"/>
              </a:rPr>
              <a:t>AI systems that once struggled now solve complex reasoning and programming problems at much higher rates — e.g., from ~4.4% to ~71.7% on a coding benchmark within a year</a:t>
            </a:r>
          </a:p>
        </p:txBody>
      </p:sp>
      <p:sp>
        <p:nvSpPr>
          <p:cNvPr id="3" name="TextBox 2">
            <a:extLst>
              <a:ext uri="{FF2B5EF4-FFF2-40B4-BE49-F238E27FC236}">
                <a16:creationId xmlns:a16="http://schemas.microsoft.com/office/drawing/2014/main" id="{E3597C2B-E63F-22F8-5171-18650042F914}"/>
              </a:ext>
            </a:extLst>
          </p:cNvPr>
          <p:cNvSpPr txBox="1"/>
          <p:nvPr/>
        </p:nvSpPr>
        <p:spPr>
          <a:xfrm>
            <a:off x="588009" y="4524930"/>
            <a:ext cx="9929304" cy="923330"/>
          </a:xfrm>
          <a:prstGeom prst="rect">
            <a:avLst/>
          </a:prstGeom>
          <a:noFill/>
        </p:spPr>
        <p:txBody>
          <a:bodyPr wrap="square" rtlCol="0">
            <a:spAutoFit/>
          </a:bodyPr>
          <a:lstStyle/>
          <a:p>
            <a:r>
              <a:rPr lang="en-CA" sz="3600" b="1">
                <a:solidFill>
                  <a:schemeClr val="accent1"/>
                </a:solidFill>
                <a:latin typeface="TT Commons Pro" panose="020B0103030102020204" pitchFamily="34" charset="77"/>
              </a:rPr>
              <a:t>“Today’s AI is the worst AI you will ever use." </a:t>
            </a:r>
          </a:p>
          <a:p>
            <a:r>
              <a:rPr lang="en-CA" i="1">
                <a:solidFill>
                  <a:schemeClr val="tx2"/>
                </a:solidFill>
                <a:latin typeface="TT Commons Pro Light" panose="020B0103030102020204" pitchFamily="34" charset="77"/>
              </a:rPr>
              <a:t>Ethan Mollick, Associate Professor at the Wharton School of the University of Pennsylvania</a:t>
            </a:r>
            <a:endParaRPr lang="en-US" sz="2000" i="1">
              <a:solidFill>
                <a:schemeClr val="tx2"/>
              </a:solidFill>
              <a:latin typeface="TT Commons Pro Light" panose="020B0103030102020204" pitchFamily="34" charset="77"/>
            </a:endParaRPr>
          </a:p>
        </p:txBody>
      </p:sp>
    </p:spTree>
    <p:extLst>
      <p:ext uri="{BB962C8B-B14F-4D97-AF65-F5344CB8AC3E}">
        <p14:creationId xmlns:p14="http://schemas.microsoft.com/office/powerpoint/2010/main" val="33880913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059F3-1F51-32D2-98AF-E02675E757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2278FA-7779-CF52-EC09-83D19B0EFC38}"/>
              </a:ext>
            </a:extLst>
          </p:cNvPr>
          <p:cNvSpPr>
            <a:spLocks noGrp="1"/>
          </p:cNvSpPr>
          <p:nvPr>
            <p:ph type="ctrTitle"/>
          </p:nvPr>
        </p:nvSpPr>
        <p:spPr>
          <a:xfrm>
            <a:off x="365760" y="1307894"/>
            <a:ext cx="6657892" cy="2387600"/>
          </a:xfrm>
        </p:spPr>
        <p:txBody>
          <a:bodyPr/>
          <a:lstStyle/>
          <a:p>
            <a:r>
              <a:rPr lang="en-US">
                <a:cs typeface="Times New Roman"/>
              </a:rPr>
              <a:t>AI Assistance for Artwork Processes</a:t>
            </a:r>
            <a:endParaRPr lang="en-US"/>
          </a:p>
        </p:txBody>
      </p:sp>
    </p:spTree>
    <p:extLst>
      <p:ext uri="{BB962C8B-B14F-4D97-AF65-F5344CB8AC3E}">
        <p14:creationId xmlns:p14="http://schemas.microsoft.com/office/powerpoint/2010/main" val="2331966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sko">
      <a:dk1>
        <a:srgbClr val="000000"/>
      </a:dk1>
      <a:lt1>
        <a:srgbClr val="FFFFFF"/>
      </a:lt1>
      <a:dk2>
        <a:srgbClr val="444B53"/>
      </a:dk2>
      <a:lt2>
        <a:srgbClr val="E7E6E6"/>
      </a:lt2>
      <a:accent1>
        <a:srgbClr val="A6C044"/>
      </a:accent1>
      <a:accent2>
        <a:srgbClr val="143FD8"/>
      </a:accent2>
      <a:accent3>
        <a:srgbClr val="C530B6"/>
      </a:accent3>
      <a:accent4>
        <a:srgbClr val="34BB4F"/>
      </a:accent4>
      <a:accent5>
        <a:srgbClr val="FF7B30"/>
      </a:accent5>
      <a:accent6>
        <a:srgbClr val="3E4850"/>
      </a:accent6>
      <a:hlink>
        <a:srgbClr val="D3DC48"/>
      </a:hlink>
      <a:folHlink>
        <a:srgbClr val="7190B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sko-ppt-template_MASTER" id="{7B91EFDC-C219-074A-A9A0-438EE833CFD1}" vid="{6EC5FF57-D335-C64D-9655-8B1D6C81EE67}"/>
    </a:ext>
  </a:extLst>
</a:theme>
</file>

<file path=ppt/theme/theme2.xml><?xml version="1.0" encoding="utf-8"?>
<a:theme xmlns:a="http://schemas.openxmlformats.org/drawingml/2006/main" name="Dark">
  <a:themeElements>
    <a:clrScheme name="Esko Colors">
      <a:dk1>
        <a:srgbClr val="000000"/>
      </a:dk1>
      <a:lt1>
        <a:srgbClr val="FFFFFF"/>
      </a:lt1>
      <a:dk2>
        <a:srgbClr val="444B53"/>
      </a:dk2>
      <a:lt2>
        <a:srgbClr val="A6C044"/>
      </a:lt2>
      <a:accent1>
        <a:srgbClr val="143FD8"/>
      </a:accent1>
      <a:accent2>
        <a:srgbClr val="FF7B30"/>
      </a:accent2>
      <a:accent3>
        <a:srgbClr val="C530B6"/>
      </a:accent3>
      <a:accent4>
        <a:srgbClr val="E5ECFF"/>
      </a:accent4>
      <a:accent5>
        <a:srgbClr val="FFE5D6"/>
      </a:accent5>
      <a:accent6>
        <a:srgbClr val="FAEAF8"/>
      </a:accent6>
      <a:hlink>
        <a:srgbClr val="A6C044"/>
      </a:hlink>
      <a:folHlink>
        <a:srgbClr val="A6C044"/>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Custom Design">
  <a:themeElements>
    <a:clrScheme name="Esko">
      <a:dk1>
        <a:srgbClr val="000000"/>
      </a:dk1>
      <a:lt1>
        <a:srgbClr val="FFFFFF"/>
      </a:lt1>
      <a:dk2>
        <a:srgbClr val="3E4850"/>
      </a:dk2>
      <a:lt2>
        <a:srgbClr val="E7E6E6"/>
      </a:lt2>
      <a:accent1>
        <a:srgbClr val="ABBB34"/>
      </a:accent1>
      <a:accent2>
        <a:srgbClr val="1169DA"/>
      </a:accent2>
      <a:accent3>
        <a:srgbClr val="D61B85"/>
      </a:accent3>
      <a:accent4>
        <a:srgbClr val="34BB4F"/>
      </a:accent4>
      <a:accent5>
        <a:srgbClr val="EF4C1D"/>
      </a:accent5>
      <a:accent6>
        <a:srgbClr val="3E4850"/>
      </a:accent6>
      <a:hlink>
        <a:srgbClr val="D3DC48"/>
      </a:hlink>
      <a:folHlink>
        <a:srgbClr val="7190B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Esko Dark">
  <a:themeElements>
    <a:clrScheme name="esko">
      <a:dk1>
        <a:srgbClr val="000000"/>
      </a:dk1>
      <a:lt1>
        <a:srgbClr val="FFFFFF"/>
      </a:lt1>
      <a:dk2>
        <a:srgbClr val="444B53"/>
      </a:dk2>
      <a:lt2>
        <a:srgbClr val="E7E6E6"/>
      </a:lt2>
      <a:accent1>
        <a:srgbClr val="A6C044"/>
      </a:accent1>
      <a:accent2>
        <a:srgbClr val="143FD8"/>
      </a:accent2>
      <a:accent3>
        <a:srgbClr val="C530B6"/>
      </a:accent3>
      <a:accent4>
        <a:srgbClr val="34BB4F"/>
      </a:accent4>
      <a:accent5>
        <a:srgbClr val="FF7B30"/>
      </a:accent5>
      <a:accent6>
        <a:srgbClr val="3E4850"/>
      </a:accent6>
      <a:hlink>
        <a:srgbClr val="D3DC48"/>
      </a:hlink>
      <a:folHlink>
        <a:srgbClr val="7190B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93AEFF"/>
        </a:solidFill>
        <a:ln>
          <a:noFill/>
        </a:ln>
      </a:spPr>
      <a:bodyPr rtlCol="0" anchor="ctr"/>
      <a:lstStyle>
        <a:defPPr algn="ctr">
          <a:defRPr dirty="0">
            <a:latin typeface="TT Commons" panose="02000506040000020004" pitchFamily="2" charset="77"/>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a:spAutoFit/>
      </a:bodyPr>
      <a:lstStyle>
        <a:defPPr algn="l">
          <a:defRPr dirty="0">
            <a:latin typeface="TT Commons Pro" panose="020B0103030102020204" pitchFamily="34" charset="77"/>
          </a:defRPr>
        </a:defPPr>
      </a:lstStyle>
    </a:txDef>
  </a:objectDefaults>
  <a:extraClrSchemeLst/>
  <a:extLst>
    <a:ext uri="{05A4C25C-085E-4340-85A3-A5531E510DB2}">
      <thm15:themeFamily xmlns:thm15="http://schemas.microsoft.com/office/thememl/2012/main" name="esko-ppt-template_MASTER" id="{7B91EFDC-C219-074A-A9A0-438EE833CFD1}" vid="{6EC5FF57-D335-C64D-9655-8B1D6C81EE67}"/>
    </a:ext>
  </a:extLst>
</a:theme>
</file>

<file path=ppt/theme/theme5.xml><?xml version="1.0" encoding="utf-8"?>
<a:theme xmlns:a="http://schemas.openxmlformats.org/drawingml/2006/main" name="1_Esko Dark">
  <a:themeElements>
    <a:clrScheme name="esko">
      <a:dk1>
        <a:srgbClr val="000000"/>
      </a:dk1>
      <a:lt1>
        <a:srgbClr val="FFFFFF"/>
      </a:lt1>
      <a:dk2>
        <a:srgbClr val="444B53"/>
      </a:dk2>
      <a:lt2>
        <a:srgbClr val="E7E6E6"/>
      </a:lt2>
      <a:accent1>
        <a:srgbClr val="A6C044"/>
      </a:accent1>
      <a:accent2>
        <a:srgbClr val="143FD8"/>
      </a:accent2>
      <a:accent3>
        <a:srgbClr val="C530B6"/>
      </a:accent3>
      <a:accent4>
        <a:srgbClr val="34BB4F"/>
      </a:accent4>
      <a:accent5>
        <a:srgbClr val="FF7B30"/>
      </a:accent5>
      <a:accent6>
        <a:srgbClr val="3E4850"/>
      </a:accent6>
      <a:hlink>
        <a:srgbClr val="D3DC48"/>
      </a:hlink>
      <a:folHlink>
        <a:srgbClr val="7190B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93AEFF"/>
        </a:solidFill>
        <a:ln>
          <a:noFill/>
        </a:ln>
      </a:spPr>
      <a:bodyPr rtlCol="0" anchor="ctr"/>
      <a:lstStyle>
        <a:defPPr algn="ctr">
          <a:defRPr dirty="0">
            <a:latin typeface="TT Commons" panose="02000506040000020004" pitchFamily="2" charset="77"/>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a:spAutoFit/>
      </a:bodyPr>
      <a:lstStyle>
        <a:defPPr algn="l">
          <a:defRPr dirty="0">
            <a:latin typeface="TT Commons Pro" panose="020B0103030102020204" pitchFamily="34" charset="77"/>
          </a:defRPr>
        </a:defPPr>
      </a:lstStyle>
    </a:txDef>
  </a:objectDefaults>
  <a:extraClrSchemeLst/>
  <a:extLst>
    <a:ext uri="{05A4C25C-085E-4340-85A3-A5531E510DB2}">
      <thm15:themeFamily xmlns:thm15="http://schemas.microsoft.com/office/thememl/2012/main" name="esko-ppt-template_MASTER" id="{7B91EFDC-C219-074A-A9A0-438EE833CFD1}" vid="{6EC5FF57-D335-C64D-9655-8B1D6C81EE67}"/>
    </a:ext>
  </a:extLst>
</a:theme>
</file>

<file path=ppt/theme/theme6.xml><?xml version="1.0" encoding="utf-8"?>
<a:theme xmlns:a="http://schemas.openxmlformats.org/drawingml/2006/main" name="2_Esko Dark">
  <a:themeElements>
    <a:clrScheme name="esko">
      <a:dk1>
        <a:srgbClr val="000000"/>
      </a:dk1>
      <a:lt1>
        <a:srgbClr val="FFFFFF"/>
      </a:lt1>
      <a:dk2>
        <a:srgbClr val="444B53"/>
      </a:dk2>
      <a:lt2>
        <a:srgbClr val="E7E6E6"/>
      </a:lt2>
      <a:accent1>
        <a:srgbClr val="A6C044"/>
      </a:accent1>
      <a:accent2>
        <a:srgbClr val="143FD8"/>
      </a:accent2>
      <a:accent3>
        <a:srgbClr val="C530B6"/>
      </a:accent3>
      <a:accent4>
        <a:srgbClr val="34BB4F"/>
      </a:accent4>
      <a:accent5>
        <a:srgbClr val="FF7B30"/>
      </a:accent5>
      <a:accent6>
        <a:srgbClr val="3E4850"/>
      </a:accent6>
      <a:hlink>
        <a:srgbClr val="D3DC48"/>
      </a:hlink>
      <a:folHlink>
        <a:srgbClr val="7190B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93AEFF"/>
        </a:solidFill>
        <a:ln>
          <a:noFill/>
        </a:ln>
      </a:spPr>
      <a:bodyPr rtlCol="0" anchor="ctr"/>
      <a:lstStyle>
        <a:defPPr algn="ctr">
          <a:defRPr dirty="0">
            <a:latin typeface="TT Commons" panose="02000506040000020004" pitchFamily="2" charset="77"/>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a:spAutoFit/>
      </a:bodyPr>
      <a:lstStyle>
        <a:defPPr algn="l">
          <a:defRPr dirty="0">
            <a:latin typeface="TT Commons Pro" panose="020B0103030102020204" pitchFamily="34" charset="77"/>
          </a:defRPr>
        </a:defPPr>
      </a:lstStyle>
    </a:txDef>
  </a:objectDefaults>
  <a:extraClrSchemeLst/>
  <a:extLst>
    <a:ext uri="{05A4C25C-085E-4340-85A3-A5531E510DB2}">
      <thm15:themeFamily xmlns:thm15="http://schemas.microsoft.com/office/thememl/2012/main" name="esko-ppt-template_MASTER" id="{7B91EFDC-C219-074A-A9A0-438EE833CFD1}" vid="{6EC5FF57-D335-C64D-9655-8B1D6C81EE6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701a54e-a628-4391-8080-489ccea8a1a2" xsi:nil="true"/>
    <lcf76f155ced4ddcb4097134ff3c332f xmlns="92349dff-1279-4d40-b8cb-2191db21bf20">
      <Terms xmlns="http://schemas.microsoft.com/office/infopath/2007/PartnerControls"/>
    </lcf76f155ced4ddcb4097134ff3c332f>
    <Loc xmlns="92349dff-1279-4d40-b8cb-2191db21bf2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403256F32238D46846BB6FFB3282081" ma:contentTypeVersion="25" ma:contentTypeDescription="Create a new document." ma:contentTypeScope="" ma:versionID="db10f0e0da6251851e0873491b475d97">
  <xsd:schema xmlns:xsd="http://www.w3.org/2001/XMLSchema" xmlns:xs="http://www.w3.org/2001/XMLSchema" xmlns:p="http://schemas.microsoft.com/office/2006/metadata/properties" xmlns:ns2="92349dff-1279-4d40-b8cb-2191db21bf20" xmlns:ns3="e701a54e-a628-4391-8080-489ccea8a1a2" targetNamespace="http://schemas.microsoft.com/office/2006/metadata/properties" ma:root="true" ma:fieldsID="f1a675975c917cc05de069857850b58a" ns2:_="" ns3:_="">
    <xsd:import namespace="92349dff-1279-4d40-b8cb-2191db21bf20"/>
    <xsd:import namespace="e701a54e-a628-4391-8080-489ccea8a1a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Loc" minOccurs="0"/>
                <xsd:element ref="ns2:Loc_x003a__x0020_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349dff-1279-4d40-b8cb-2191db21bf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512ac1f-2332-492c-8cad-e2606caf05d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Loc" ma:index="26" nillable="true" ma:displayName="Loc" ma:format="Dropdown" ma:list="92349dff-1279-4d40-b8cb-2191db21bf20" ma:internalName="Loc" ma:showField="MediaServiceLocation">
      <xsd:simpleType>
        <xsd:restriction base="dms:Lookup"/>
      </xsd:simpleType>
    </xsd:element>
    <xsd:element name="Loc_x003a__x0020_Location" ma:index="27" nillable="true" ma:displayName="Loc: Location" ma:format="Dropdown" ma:list="92349dff-1279-4d40-b8cb-2191db21bf20" ma:internalName="Loc_x003a__x0020_Location" ma:readOnly="true" ma:showField="MediaServiceLocation">
      <xsd:simpleType>
        <xsd:restriction base="dms:Lookup"/>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01a54e-a628-4391-8080-489ccea8a1a2"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36db5ddb-bfcb-4bfb-9a8b-f7e661be21fa}" ma:internalName="TaxCatchAll" ma:readOnly="false" ma:showField="CatchAllData" ma:web="e701a54e-a628-4391-8080-489ccea8a1a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A30F12-7418-4A1D-BED6-BACED3CAB2C4}">
  <ds:schemaRefs>
    <ds:schemaRef ds:uri="http://purl.org/dc/terms/"/>
    <ds:schemaRef ds:uri="http://schemas.microsoft.com/office/infopath/2007/PartnerControls"/>
    <ds:schemaRef ds:uri="http://purl.org/dc/dcmitype/"/>
    <ds:schemaRef ds:uri="92349dff-1279-4d40-b8cb-2191db21bf20"/>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e701a54e-a628-4391-8080-489ccea8a1a2"/>
    <ds:schemaRef ds:uri="http://www.w3.org/XML/1998/namespace"/>
  </ds:schemaRefs>
</ds:datastoreItem>
</file>

<file path=customXml/itemProps2.xml><?xml version="1.0" encoding="utf-8"?>
<ds:datastoreItem xmlns:ds="http://schemas.openxmlformats.org/officeDocument/2006/customXml" ds:itemID="{C7526E19-4737-402C-955B-7587CEFA3B24}">
  <ds:schemaRefs>
    <ds:schemaRef ds:uri="92349dff-1279-4d40-b8cb-2191db21bf20"/>
    <ds:schemaRef ds:uri="e701a54e-a628-4391-8080-489ccea8a1a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3.xml><?xml version="1.0" encoding="utf-8"?>
<ds:datastoreItem xmlns:ds="http://schemas.openxmlformats.org/officeDocument/2006/customXml" ds:itemID="{CE1955BF-9D3B-475C-B8AD-05F212E02B54}">
  <ds:schemaRefs>
    <ds:schemaRef ds:uri="http://schemas.microsoft.com/sharepoint/v3/contenttype/forms"/>
  </ds:schemaRefs>
</ds:datastoreItem>
</file>

<file path=docMetadata/LabelInfo.xml><?xml version="1.0" encoding="utf-8"?>
<clbl:labelList xmlns:clbl="http://schemas.microsoft.com/office/2020/mipLabelMetadata">
  <clbl:label id="{78fc3b9b-35b0-4549-b8c7-7249a2740519}" enabled="1" method="Privileged" siteId="{2c518df7-6644-41f8-8350-3f75e61362ac}" removed="0"/>
  <clbl:label id="{7cd05640-6cd4-4d9f-9a12-93a92969cb7f}" enabled="0" method="" siteId="{7cd05640-6cd4-4d9f-9a12-93a92969cb7f}" removed="1"/>
</clbl:labelList>
</file>

<file path=docProps/app.xml><?xml version="1.0" encoding="utf-8"?>
<Properties xmlns="http://schemas.openxmlformats.org/officeDocument/2006/extended-properties" xmlns:vt="http://schemas.openxmlformats.org/officeDocument/2006/docPropsVTypes">
  <Template>Office Theme</Template>
  <TotalTime>408</TotalTime>
  <Words>2793</Words>
  <Application>Microsoft Macintosh PowerPoint</Application>
  <PresentationFormat>Widescreen</PresentationFormat>
  <Paragraphs>424</Paragraphs>
  <Slides>30</Slides>
  <Notes>29</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30</vt:i4>
      </vt:variant>
    </vt:vector>
  </HeadingPairs>
  <TitlesOfParts>
    <vt:vector size="51" baseType="lpstr">
      <vt:lpstr>Aptos</vt:lpstr>
      <vt:lpstr>Arial</vt:lpstr>
      <vt:lpstr>Calibri</vt:lpstr>
      <vt:lpstr>Default</vt:lpstr>
      <vt:lpstr>Segoe UI</vt:lpstr>
      <vt:lpstr>Tiempos Headline Semibold</vt:lpstr>
      <vt:lpstr>Times New Roman</vt:lpstr>
      <vt:lpstr>TT Commons</vt:lpstr>
      <vt:lpstr>TT Commons Medium</vt:lpstr>
      <vt:lpstr>TT Commons Pro</vt:lpstr>
      <vt:lpstr>TT Commons Pro DemiBold</vt:lpstr>
      <vt:lpstr>TT Commons Pro Light</vt:lpstr>
      <vt:lpstr>Verdana</vt:lpstr>
      <vt:lpstr>Wingdings</vt:lpstr>
      <vt:lpstr>Office Theme</vt:lpstr>
      <vt:lpstr>Dark</vt:lpstr>
      <vt:lpstr>Custom Design</vt:lpstr>
      <vt:lpstr>Esko Dark</vt:lpstr>
      <vt:lpstr>1_Esko Dark</vt:lpstr>
      <vt:lpstr>2_Esko Dark</vt:lpstr>
      <vt:lpstr>think-cell Slide</vt:lpstr>
      <vt:lpstr>AI-Assisted  Artwork &amp; Leaflets:  Boost Your Operational Efficiency  </vt:lpstr>
      <vt:lpstr>Introduction</vt:lpstr>
      <vt:lpstr>PowerPoint Presentation</vt:lpstr>
      <vt:lpstr>PowerPoint Presentation</vt:lpstr>
      <vt:lpstr>PowerPoint Presentation</vt:lpstr>
      <vt:lpstr>PowerPoint Presentation</vt:lpstr>
      <vt:lpstr>PowerPoint Presentation</vt:lpstr>
      <vt:lpstr>PowerPoint Presentation</vt:lpstr>
      <vt:lpstr>AI Assistance for Artwork Processes</vt:lpstr>
      <vt:lpstr>PowerPoint Presentation</vt:lpstr>
      <vt:lpstr>PowerPoint Presentation</vt:lpstr>
      <vt:lpstr>PowerPoint Presentation</vt:lpstr>
      <vt:lpstr>PowerPoint Presentation</vt:lpstr>
      <vt:lpstr>AI Assisted Compliance Checks</vt:lpstr>
      <vt:lpstr>PowerPoint Presentation</vt:lpstr>
      <vt:lpstr>PowerPoint Presentation</vt:lpstr>
      <vt:lpstr>PowerPoint Presentation</vt:lpstr>
      <vt:lpstr>PowerPoint Presentation</vt:lpstr>
      <vt:lpstr>PowerPoint Presentation</vt:lpstr>
      <vt:lpstr>PowerPoint Presentation</vt:lpstr>
      <vt:lpstr>The Connected Ecosystem: The Future State</vt:lpstr>
      <vt:lpstr>A Toolkit Approach</vt:lpstr>
      <vt:lpstr>Connected Ecosystem</vt:lpstr>
      <vt:lpstr>Connected Execution Platform</vt:lpstr>
      <vt:lpstr>A Connected Execution Platform </vt:lpstr>
      <vt:lpstr>Foundations for the Next Era </vt:lpstr>
      <vt:lpstr>Final Thoughts</vt:lpstr>
      <vt:lpstr>PowerPoint Presentation</vt:lpstr>
      <vt:lpstr>Come see us at our table to discuss what your next steps should be…</vt:lpstr>
      <vt:lpstr>Thank You…  Any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Jollie, Maria</dc:creator>
  <cp:lastModifiedBy>Thompson, Samantha</cp:lastModifiedBy>
  <cp:revision>3</cp:revision>
  <cp:lastPrinted>2026-03-24T18:54:48Z</cp:lastPrinted>
  <dcterms:created xsi:type="dcterms:W3CDTF">2024-09-05T16:16:51Z</dcterms:created>
  <dcterms:modified xsi:type="dcterms:W3CDTF">2026-03-24T18:5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03256F32238D46846BB6FFB3282081</vt:lpwstr>
  </property>
  <property fmtid="{D5CDD505-2E9C-101B-9397-08002B2CF9AE}" pid="3" name="MediaServiceImageTags">
    <vt:lpwstr/>
  </property>
  <property fmtid="{D5CDD505-2E9C-101B-9397-08002B2CF9AE}" pid="4" name="ClassificationContentMarkingFooterLocations">
    <vt:lpwstr>Office Theme:5</vt:lpwstr>
  </property>
  <property fmtid="{D5CDD505-2E9C-101B-9397-08002B2CF9AE}" pid="5" name="ClassificationContentMarkingFooterText">
    <vt:lpwstr>Confidential - Company Proprietary</vt:lpwstr>
  </property>
</Properties>
</file>